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3"/>
  </p:notesMasterIdLst>
  <p:handoutMasterIdLst>
    <p:handoutMasterId r:id="rId34"/>
  </p:handoutMasterIdLst>
  <p:sldIdLst>
    <p:sldId id="347" r:id="rId6"/>
    <p:sldId id="258" r:id="rId7"/>
    <p:sldId id="348" r:id="rId8"/>
    <p:sldId id="349" r:id="rId9"/>
    <p:sldId id="350" r:id="rId10"/>
    <p:sldId id="351" r:id="rId11"/>
    <p:sldId id="352" r:id="rId12"/>
    <p:sldId id="353" r:id="rId13"/>
    <p:sldId id="354" r:id="rId14"/>
    <p:sldId id="355" r:id="rId15"/>
    <p:sldId id="364" r:id="rId16"/>
    <p:sldId id="357" r:id="rId17"/>
    <p:sldId id="358" r:id="rId18"/>
    <p:sldId id="359" r:id="rId19"/>
    <p:sldId id="361" r:id="rId20"/>
    <p:sldId id="362" r:id="rId21"/>
    <p:sldId id="363" r:id="rId22"/>
    <p:sldId id="360" r:id="rId23"/>
    <p:sldId id="365" r:id="rId24"/>
    <p:sldId id="366" r:id="rId25"/>
    <p:sldId id="356" r:id="rId26"/>
    <p:sldId id="370" r:id="rId27"/>
    <p:sldId id="371" r:id="rId28"/>
    <p:sldId id="369" r:id="rId29"/>
    <p:sldId id="368" r:id="rId30"/>
    <p:sldId id="367" r:id="rId31"/>
    <p:sldId id="257" r:id="rId32"/>
  </p:sldIdLst>
  <p:sldSz cx="12192000" cy="6858000"/>
  <p:notesSz cx="7099300" cy="10234613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90A6"/>
    <a:srgbClr val="1818FF"/>
    <a:srgbClr val="FFFFFF"/>
    <a:srgbClr val="C3D0DD"/>
    <a:srgbClr val="1D1D1A"/>
    <a:srgbClr val="FCD442"/>
    <a:srgbClr val="FF6666"/>
    <a:srgbClr val="4DB6AF"/>
    <a:srgbClr val="1D1D6F"/>
    <a:srgbClr val="B6CA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B3BAF5-22C2-D749-AF85-28C587EFC3EB}" v="188" dt="2025-05-08T08:23:41.501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893"/>
    <p:restoredTop sz="95897"/>
  </p:normalViewPr>
  <p:slideViewPr>
    <p:cSldViewPr snapToGrid="0">
      <p:cViewPr>
        <p:scale>
          <a:sx n="120" d="100"/>
          <a:sy n="120" d="100"/>
        </p:scale>
        <p:origin x="128" y="-72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42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ssia Ceroni" userId="59238df8-040f-40e7-81e6-4838df61c6e5" providerId="ADAL" clId="{0BB3BAF5-22C2-D749-AF85-28C587EFC3EB}"/>
    <pc:docChg chg="undo redo custSel addSld delSld modSld sldOrd">
      <pc:chgData name="Alessia Ceroni" userId="59238df8-040f-40e7-81e6-4838df61c6e5" providerId="ADAL" clId="{0BB3BAF5-22C2-D749-AF85-28C587EFC3EB}" dt="2025-05-08T08:26:30.758" v="11126" actId="20577"/>
      <pc:docMkLst>
        <pc:docMk/>
      </pc:docMkLst>
      <pc:sldChg chg="addSp delSp modSp mod chgLayout">
        <pc:chgData name="Alessia Ceroni" userId="59238df8-040f-40e7-81e6-4838df61c6e5" providerId="ADAL" clId="{0BB3BAF5-22C2-D749-AF85-28C587EFC3EB}" dt="2025-05-08T07:45:51.143" v="10109" actId="20577"/>
        <pc:sldMkLst>
          <pc:docMk/>
          <pc:sldMk cId="3601296254" sldId="258"/>
        </pc:sldMkLst>
        <pc:spChg chg="mod ord">
          <ac:chgData name="Alessia Ceroni" userId="59238df8-040f-40e7-81e6-4838df61c6e5" providerId="ADAL" clId="{0BB3BAF5-22C2-D749-AF85-28C587EFC3EB}" dt="2025-05-08T07:18:58.161" v="9480" actId="700"/>
          <ac:spMkLst>
            <pc:docMk/>
            <pc:sldMk cId="3601296254" sldId="258"/>
            <ac:spMk id="3" creationId="{90D17616-C6F6-5E72-B3B8-B8737DA3DB23}"/>
          </ac:spMkLst>
        </pc:spChg>
        <pc:spChg chg="mod ord">
          <ac:chgData name="Alessia Ceroni" userId="59238df8-040f-40e7-81e6-4838df61c6e5" providerId="ADAL" clId="{0BB3BAF5-22C2-D749-AF85-28C587EFC3EB}" dt="2025-05-08T07:32:34.104" v="9534" actId="14100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Alessia Ceroni" userId="59238df8-040f-40e7-81e6-4838df61c6e5" providerId="ADAL" clId="{0BB3BAF5-22C2-D749-AF85-28C587EFC3EB}" dt="2025-05-08T07:43:09.187" v="9915" actId="1076"/>
          <ac:spMkLst>
            <pc:docMk/>
            <pc:sldMk cId="3601296254" sldId="258"/>
            <ac:spMk id="7" creationId="{B86D03CA-70E4-47A7-E9D3-884E86C811F6}"/>
          </ac:spMkLst>
        </pc:spChg>
        <pc:spChg chg="add mod">
          <ac:chgData name="Alessia Ceroni" userId="59238df8-040f-40e7-81e6-4838df61c6e5" providerId="ADAL" clId="{0BB3BAF5-22C2-D749-AF85-28C587EFC3EB}" dt="2025-05-08T07:42:30.782" v="9910" actId="20577"/>
          <ac:spMkLst>
            <pc:docMk/>
            <pc:sldMk cId="3601296254" sldId="258"/>
            <ac:spMk id="8" creationId="{A5F223AB-7965-A0B9-6FB2-C69D455D12DC}"/>
          </ac:spMkLst>
        </pc:spChg>
        <pc:spChg chg="add del mod">
          <ac:chgData name="Alessia Ceroni" userId="59238df8-040f-40e7-81e6-4838df61c6e5" providerId="ADAL" clId="{0BB3BAF5-22C2-D749-AF85-28C587EFC3EB}" dt="2025-05-08T07:44:16.158" v="9998" actId="478"/>
          <ac:spMkLst>
            <pc:docMk/>
            <pc:sldMk cId="3601296254" sldId="258"/>
            <ac:spMk id="10" creationId="{F8826154-9A25-B2A0-CD42-8F72EE0A02F7}"/>
          </ac:spMkLst>
        </pc:spChg>
        <pc:spChg chg="add mod">
          <ac:chgData name="Alessia Ceroni" userId="59238df8-040f-40e7-81e6-4838df61c6e5" providerId="ADAL" clId="{0BB3BAF5-22C2-D749-AF85-28C587EFC3EB}" dt="2025-05-08T07:45:51.143" v="10109" actId="20577"/>
          <ac:spMkLst>
            <pc:docMk/>
            <pc:sldMk cId="3601296254" sldId="258"/>
            <ac:spMk id="11" creationId="{1AB7A958-5840-A7F6-B60F-049CDB734288}"/>
          </ac:spMkLst>
        </pc:spChg>
        <pc:cxnChg chg="add">
          <ac:chgData name="Alessia Ceroni" userId="59238df8-040f-40e7-81e6-4838df61c6e5" providerId="ADAL" clId="{0BB3BAF5-22C2-D749-AF85-28C587EFC3EB}" dt="2025-05-08T07:17:09.230" v="9281" actId="11529"/>
          <ac:cxnSpMkLst>
            <pc:docMk/>
            <pc:sldMk cId="3601296254" sldId="258"/>
            <ac:cxnSpMk id="5" creationId="{BBD7373F-531C-D762-3516-718B3ABCBEED}"/>
          </ac:cxnSpMkLst>
        </pc:cxnChg>
        <pc:cxnChg chg="add mod">
          <ac:chgData name="Alessia Ceroni" userId="59238df8-040f-40e7-81e6-4838df61c6e5" providerId="ADAL" clId="{0BB3BAF5-22C2-D749-AF85-28C587EFC3EB}" dt="2025-05-08T07:36:31.234" v="9622" actId="1038"/>
          <ac:cxnSpMkLst>
            <pc:docMk/>
            <pc:sldMk cId="3601296254" sldId="258"/>
            <ac:cxnSpMk id="6" creationId="{1AD3BD86-36D4-56EC-BFD9-780A44E54985}"/>
          </ac:cxnSpMkLst>
        </pc:cxnChg>
      </pc:sldChg>
      <pc:sldChg chg="del">
        <pc:chgData name="Alessia Ceroni" userId="59238df8-040f-40e7-81e6-4838df61c6e5" providerId="ADAL" clId="{0BB3BAF5-22C2-D749-AF85-28C587EFC3EB}" dt="2025-05-08T08:24:01.440" v="11114" actId="2696"/>
        <pc:sldMkLst>
          <pc:docMk/>
          <pc:sldMk cId="1998290092" sldId="334"/>
        </pc:sldMkLst>
      </pc:sldChg>
      <pc:sldChg chg="addSp delSp modSp mod">
        <pc:chgData name="Alessia Ceroni" userId="59238df8-040f-40e7-81e6-4838df61c6e5" providerId="ADAL" clId="{0BB3BAF5-22C2-D749-AF85-28C587EFC3EB}" dt="2025-05-08T08:24:35.069" v="11119" actId="20577"/>
        <pc:sldMkLst>
          <pc:docMk/>
          <pc:sldMk cId="252918147" sldId="347"/>
        </pc:sldMkLst>
        <pc:spChg chg="mod">
          <ac:chgData name="Alessia Ceroni" userId="59238df8-040f-40e7-81e6-4838df61c6e5" providerId="ADAL" clId="{0BB3BAF5-22C2-D749-AF85-28C587EFC3EB}" dt="2025-05-08T08:24:35.069" v="11119" actId="20577"/>
          <ac:spMkLst>
            <pc:docMk/>
            <pc:sldMk cId="252918147" sldId="347"/>
            <ac:spMk id="3" creationId="{3BA6F465-3916-8773-B818-BD758E4B9CA7}"/>
          </ac:spMkLst>
        </pc:spChg>
      </pc:sldChg>
      <pc:sldChg chg="addSp delSp modSp mod">
        <pc:chgData name="Alessia Ceroni" userId="59238df8-040f-40e7-81e6-4838df61c6e5" providerId="ADAL" clId="{0BB3BAF5-22C2-D749-AF85-28C587EFC3EB}" dt="2025-05-08T08:26:30.758" v="11126" actId="20577"/>
        <pc:sldMkLst>
          <pc:docMk/>
          <pc:sldMk cId="2750387320" sldId="348"/>
        </pc:sldMkLst>
        <pc:spChg chg="mod">
          <ac:chgData name="Alessia Ceroni" userId="59238df8-040f-40e7-81e6-4838df61c6e5" providerId="ADAL" clId="{0BB3BAF5-22C2-D749-AF85-28C587EFC3EB}" dt="2025-05-05T19:01:28.744" v="1867" actId="20577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0BB3BAF5-22C2-D749-AF85-28C587EFC3EB}" dt="2025-05-08T08:26:30.758" v="11126" actId="20577"/>
          <ac:spMkLst>
            <pc:docMk/>
            <pc:sldMk cId="2750387320" sldId="348"/>
            <ac:spMk id="4" creationId="{5305BB04-765F-64F5-5C21-9E446AA76387}"/>
          </ac:spMkLst>
        </pc:spChg>
        <pc:spChg chg="add mod">
          <ac:chgData name="Alessia Ceroni" userId="59238df8-040f-40e7-81e6-4838df61c6e5" providerId="ADAL" clId="{0BB3BAF5-22C2-D749-AF85-28C587EFC3EB}" dt="2025-05-05T17:40:50.289" v="58" actId="1076"/>
          <ac:spMkLst>
            <pc:docMk/>
            <pc:sldMk cId="2750387320" sldId="348"/>
            <ac:spMk id="8" creationId="{8A37E797-8D1D-C8A8-07D8-D452D5E05A85}"/>
          </ac:spMkLst>
        </pc:spChg>
        <pc:spChg chg="add del mod">
          <ac:chgData name="Alessia Ceroni" userId="59238df8-040f-40e7-81e6-4838df61c6e5" providerId="ADAL" clId="{0BB3BAF5-22C2-D749-AF85-28C587EFC3EB}" dt="2025-05-08T07:12:35.228" v="9123" actId="478"/>
          <ac:spMkLst>
            <pc:docMk/>
            <pc:sldMk cId="2750387320" sldId="348"/>
            <ac:spMk id="11" creationId="{A5A41BCC-CAC8-993E-950D-1CA81D7C1044}"/>
          </ac:spMkLst>
        </pc:spChg>
        <pc:spChg chg="add mod">
          <ac:chgData name="Alessia Ceroni" userId="59238df8-040f-40e7-81e6-4838df61c6e5" providerId="ADAL" clId="{0BB3BAF5-22C2-D749-AF85-28C587EFC3EB}" dt="2025-05-05T19:24:23.422" v="2957" actId="20577"/>
          <ac:spMkLst>
            <pc:docMk/>
            <pc:sldMk cId="2750387320" sldId="348"/>
            <ac:spMk id="14" creationId="{097ACFFA-BFB2-DE2C-6D8B-A53FBB05ED67}"/>
          </ac:spMkLst>
        </pc:spChg>
        <pc:spChg chg="add mod">
          <ac:chgData name="Alessia Ceroni" userId="59238df8-040f-40e7-81e6-4838df61c6e5" providerId="ADAL" clId="{0BB3BAF5-22C2-D749-AF85-28C587EFC3EB}" dt="2025-05-05T17:56:51.674" v="430" actId="122"/>
          <ac:spMkLst>
            <pc:docMk/>
            <pc:sldMk cId="2750387320" sldId="348"/>
            <ac:spMk id="25" creationId="{0A1B43CF-04AC-2F13-CE89-2491B27E13E8}"/>
          </ac:spMkLst>
        </pc:spChg>
        <pc:spChg chg="add mod">
          <ac:chgData name="Alessia Ceroni" userId="59238df8-040f-40e7-81e6-4838df61c6e5" providerId="ADAL" clId="{0BB3BAF5-22C2-D749-AF85-28C587EFC3EB}" dt="2025-05-08T07:13:12.235" v="9143" actId="1038"/>
          <ac:spMkLst>
            <pc:docMk/>
            <pc:sldMk cId="2750387320" sldId="348"/>
            <ac:spMk id="30" creationId="{598A1475-F274-AA64-AB81-BB3EFFD4194E}"/>
          </ac:spMkLst>
        </pc:spChg>
        <pc:grpChg chg="add mod">
          <ac:chgData name="Alessia Ceroni" userId="59238df8-040f-40e7-81e6-4838df61c6e5" providerId="ADAL" clId="{0BB3BAF5-22C2-D749-AF85-28C587EFC3EB}" dt="2025-05-08T07:13:02.852" v="9131" actId="1036"/>
          <ac:grpSpMkLst>
            <pc:docMk/>
            <pc:sldMk cId="2750387320" sldId="348"/>
            <ac:grpSpMk id="2" creationId="{15AFCCEF-6450-CE67-5F3B-A9C2319BCCD9}"/>
          </ac:grpSpMkLst>
        </pc:grpChg>
        <pc:grpChg chg="add mod">
          <ac:chgData name="Alessia Ceroni" userId="59238df8-040f-40e7-81e6-4838df61c6e5" providerId="ADAL" clId="{0BB3BAF5-22C2-D749-AF85-28C587EFC3EB}" dt="2025-05-08T07:11:31.885" v="9110" actId="1038"/>
          <ac:grpSpMkLst>
            <pc:docMk/>
            <pc:sldMk cId="2750387320" sldId="348"/>
            <ac:grpSpMk id="22" creationId="{2A988D24-5539-D7CD-25C8-8038A5C1E239}"/>
          </ac:grpSpMkLst>
        </pc:grpChg>
        <pc:cxnChg chg="add">
          <ac:chgData name="Alessia Ceroni" userId="59238df8-040f-40e7-81e6-4838df61c6e5" providerId="ADAL" clId="{0BB3BAF5-22C2-D749-AF85-28C587EFC3EB}" dt="2025-05-05T17:40:12.084" v="50" actId="11529"/>
          <ac:cxnSpMkLst>
            <pc:docMk/>
            <pc:sldMk cId="2750387320" sldId="348"/>
            <ac:cxnSpMk id="7" creationId="{5F9F80F6-A5F2-BCAF-042B-CD52C4EAC0E5}"/>
          </ac:cxnSpMkLst>
        </pc:cxnChg>
        <pc:cxnChg chg="add mod">
          <ac:chgData name="Alessia Ceroni" userId="59238df8-040f-40e7-81e6-4838df61c6e5" providerId="ADAL" clId="{0BB3BAF5-22C2-D749-AF85-28C587EFC3EB}" dt="2025-05-05T17:40:34.028" v="55" actId="1037"/>
          <ac:cxnSpMkLst>
            <pc:docMk/>
            <pc:sldMk cId="2750387320" sldId="348"/>
            <ac:cxnSpMk id="9" creationId="{DBDF73A8-C44F-C789-B8CB-60F33E9104C3}"/>
          </ac:cxnSpMkLst>
        </pc:cxnChg>
        <pc:cxnChg chg="add mod">
          <ac:chgData name="Alessia Ceroni" userId="59238df8-040f-40e7-81e6-4838df61c6e5" providerId="ADAL" clId="{0BB3BAF5-22C2-D749-AF85-28C587EFC3EB}" dt="2025-05-05T17:42:00.257" v="78" actId="1076"/>
          <ac:cxnSpMkLst>
            <pc:docMk/>
            <pc:sldMk cId="2750387320" sldId="348"/>
            <ac:cxnSpMk id="10" creationId="{C81DC71E-0A84-6370-4CF3-410AC0C515D6}"/>
          </ac:cxnSpMkLst>
        </pc:cxnChg>
        <pc:cxnChg chg="add mod">
          <ac:chgData name="Alessia Ceroni" userId="59238df8-040f-40e7-81e6-4838df61c6e5" providerId="ADAL" clId="{0BB3BAF5-22C2-D749-AF85-28C587EFC3EB}" dt="2025-05-05T17:42:00.257" v="78" actId="1076"/>
          <ac:cxnSpMkLst>
            <pc:docMk/>
            <pc:sldMk cId="2750387320" sldId="348"/>
            <ac:cxnSpMk id="12" creationId="{5F2E8FC7-2FF9-9AE0-05EC-0A317156F892}"/>
          </ac:cxnSpMkLst>
        </pc:cxnChg>
        <pc:cxnChg chg="add mod">
          <ac:chgData name="Alessia Ceroni" userId="59238df8-040f-40e7-81e6-4838df61c6e5" providerId="ADAL" clId="{0BB3BAF5-22C2-D749-AF85-28C587EFC3EB}" dt="2025-05-05T17:43:53.845" v="151" actId="1035"/>
          <ac:cxnSpMkLst>
            <pc:docMk/>
            <pc:sldMk cId="2750387320" sldId="348"/>
            <ac:cxnSpMk id="13" creationId="{B0F4DF83-E978-AE6E-DBF7-96655C113599}"/>
          </ac:cxnSpMkLst>
        </pc:cxnChg>
        <pc:cxnChg chg="add mod">
          <ac:chgData name="Alessia Ceroni" userId="59238df8-040f-40e7-81e6-4838df61c6e5" providerId="ADAL" clId="{0BB3BAF5-22C2-D749-AF85-28C587EFC3EB}" dt="2025-05-05T17:42:41.042" v="106" actId="1076"/>
          <ac:cxnSpMkLst>
            <pc:docMk/>
            <pc:sldMk cId="2750387320" sldId="348"/>
            <ac:cxnSpMk id="15" creationId="{859667F9-7E39-5258-9049-FE7BF5C35466}"/>
          </ac:cxnSpMkLst>
        </pc:cxnChg>
        <pc:cxnChg chg="add mod">
          <ac:chgData name="Alessia Ceroni" userId="59238df8-040f-40e7-81e6-4838df61c6e5" providerId="ADAL" clId="{0BB3BAF5-22C2-D749-AF85-28C587EFC3EB}" dt="2025-05-05T17:43:56.947" v="159" actId="1036"/>
          <ac:cxnSpMkLst>
            <pc:docMk/>
            <pc:sldMk cId="2750387320" sldId="348"/>
            <ac:cxnSpMk id="16" creationId="{A6678413-E337-CF04-E605-24ACEEBDE921}"/>
          </ac:cxnSpMkLst>
        </pc:cxnChg>
        <pc:cxnChg chg="mod">
          <ac:chgData name="Alessia Ceroni" userId="59238df8-040f-40e7-81e6-4838df61c6e5" providerId="ADAL" clId="{0BB3BAF5-22C2-D749-AF85-28C587EFC3EB}" dt="2025-05-08T07:12:26.106" v="9122" actId="208"/>
          <ac:cxnSpMkLst>
            <pc:docMk/>
            <pc:sldMk cId="2750387320" sldId="348"/>
            <ac:cxnSpMk id="17" creationId="{BFD95135-3241-28C9-D690-5BE058DF768F}"/>
          </ac:cxnSpMkLst>
        </pc:cxnChg>
        <pc:cxnChg chg="mod">
          <ac:chgData name="Alessia Ceroni" userId="59238df8-040f-40e7-81e6-4838df61c6e5" providerId="ADAL" clId="{0BB3BAF5-22C2-D749-AF85-28C587EFC3EB}" dt="2025-05-08T07:12:26.106" v="9122" actId="208"/>
          <ac:cxnSpMkLst>
            <pc:docMk/>
            <pc:sldMk cId="2750387320" sldId="348"/>
            <ac:cxnSpMk id="18" creationId="{B1F65EB1-315C-E82C-5E34-DED79B748BD4}"/>
          </ac:cxnSpMkLst>
        </pc:cxnChg>
        <pc:cxnChg chg="mod">
          <ac:chgData name="Alessia Ceroni" userId="59238df8-040f-40e7-81e6-4838df61c6e5" providerId="ADAL" clId="{0BB3BAF5-22C2-D749-AF85-28C587EFC3EB}" dt="2025-05-08T07:12:26.106" v="9122" actId="208"/>
          <ac:cxnSpMkLst>
            <pc:docMk/>
            <pc:sldMk cId="2750387320" sldId="348"/>
            <ac:cxnSpMk id="19" creationId="{AD48BE71-2791-AAAF-C60A-609547326FCD}"/>
          </ac:cxnSpMkLst>
        </pc:cxnChg>
        <pc:cxnChg chg="mod">
          <ac:chgData name="Alessia Ceroni" userId="59238df8-040f-40e7-81e6-4838df61c6e5" providerId="ADAL" clId="{0BB3BAF5-22C2-D749-AF85-28C587EFC3EB}" dt="2025-05-08T07:12:26.106" v="9122" actId="208"/>
          <ac:cxnSpMkLst>
            <pc:docMk/>
            <pc:sldMk cId="2750387320" sldId="348"/>
            <ac:cxnSpMk id="20" creationId="{42206C3E-0C7A-9B5D-32F2-17AE29CDA32A}"/>
          </ac:cxnSpMkLst>
        </pc:cxnChg>
        <pc:cxnChg chg="mod">
          <ac:chgData name="Alessia Ceroni" userId="59238df8-040f-40e7-81e6-4838df61c6e5" providerId="ADAL" clId="{0BB3BAF5-22C2-D749-AF85-28C587EFC3EB}" dt="2025-05-08T07:12:26.106" v="9122" actId="208"/>
          <ac:cxnSpMkLst>
            <pc:docMk/>
            <pc:sldMk cId="2750387320" sldId="348"/>
            <ac:cxnSpMk id="21" creationId="{825371B4-418B-1B0A-C187-C0902CB04499}"/>
          </ac:cxnSpMkLst>
        </pc:cxnChg>
        <pc:cxnChg chg="mod">
          <ac:chgData name="Alessia Ceroni" userId="59238df8-040f-40e7-81e6-4838df61c6e5" providerId="ADAL" clId="{0BB3BAF5-22C2-D749-AF85-28C587EFC3EB}" dt="2025-05-08T07:11:06.486" v="9081"/>
          <ac:cxnSpMkLst>
            <pc:docMk/>
            <pc:sldMk cId="2750387320" sldId="348"/>
            <ac:cxnSpMk id="23" creationId="{F27FFCFC-1AB5-0ACA-995D-73C14EC640F1}"/>
          </ac:cxnSpMkLst>
        </pc:cxnChg>
        <pc:cxnChg chg="add mod">
          <ac:chgData name="Alessia Ceroni" userId="59238df8-040f-40e7-81e6-4838df61c6e5" providerId="ADAL" clId="{0BB3BAF5-22C2-D749-AF85-28C587EFC3EB}" dt="2025-05-05T17:57:25.290" v="478" actId="14100"/>
          <ac:cxnSpMkLst>
            <pc:docMk/>
            <pc:sldMk cId="2750387320" sldId="348"/>
            <ac:cxnSpMk id="24" creationId="{D941C4F6-E67B-3B83-2BE7-06CF89062EFF}"/>
          </ac:cxnSpMkLst>
        </pc:cxnChg>
        <pc:cxnChg chg="add mod">
          <ac:chgData name="Alessia Ceroni" userId="59238df8-040f-40e7-81e6-4838df61c6e5" providerId="ADAL" clId="{0BB3BAF5-22C2-D749-AF85-28C587EFC3EB}" dt="2025-05-05T17:57:03.135" v="456" actId="1037"/>
          <ac:cxnSpMkLst>
            <pc:docMk/>
            <pc:sldMk cId="2750387320" sldId="348"/>
            <ac:cxnSpMk id="26" creationId="{7364DD07-2845-0CE1-84FE-28066D2D0982}"/>
          </ac:cxnSpMkLst>
        </pc:cxnChg>
        <pc:cxnChg chg="add mod">
          <ac:chgData name="Alessia Ceroni" userId="59238df8-040f-40e7-81e6-4838df61c6e5" providerId="ADAL" clId="{0BB3BAF5-22C2-D749-AF85-28C587EFC3EB}" dt="2025-05-05T17:54:10.839" v="296" actId="1076"/>
          <ac:cxnSpMkLst>
            <pc:docMk/>
            <pc:sldMk cId="2750387320" sldId="348"/>
            <ac:cxnSpMk id="27" creationId="{E822B7CB-01B4-C3B5-8D53-9790C6933EAD}"/>
          </ac:cxnSpMkLst>
        </pc:cxnChg>
        <pc:cxnChg chg="mod">
          <ac:chgData name="Alessia Ceroni" userId="59238df8-040f-40e7-81e6-4838df61c6e5" providerId="ADAL" clId="{0BB3BAF5-22C2-D749-AF85-28C587EFC3EB}" dt="2025-05-08T07:11:06.486" v="9081"/>
          <ac:cxnSpMkLst>
            <pc:docMk/>
            <pc:sldMk cId="2750387320" sldId="348"/>
            <ac:cxnSpMk id="28" creationId="{D57C77C8-9E77-BC70-FCB2-20062C52DAF2}"/>
          </ac:cxnSpMkLst>
        </pc:cxnChg>
        <pc:cxnChg chg="mod">
          <ac:chgData name="Alessia Ceroni" userId="59238df8-040f-40e7-81e6-4838df61c6e5" providerId="ADAL" clId="{0BB3BAF5-22C2-D749-AF85-28C587EFC3EB}" dt="2025-05-08T07:11:06.486" v="9081"/>
          <ac:cxnSpMkLst>
            <pc:docMk/>
            <pc:sldMk cId="2750387320" sldId="348"/>
            <ac:cxnSpMk id="29" creationId="{EBB250BF-3CD4-DF27-7844-CBB4AE329AA0}"/>
          </ac:cxnSpMkLst>
        </pc:cxnChg>
      </pc:sldChg>
      <pc:sldChg chg="addSp modSp new mod">
        <pc:chgData name="Alessia Ceroni" userId="59238df8-040f-40e7-81e6-4838df61c6e5" providerId="ADAL" clId="{0BB3BAF5-22C2-D749-AF85-28C587EFC3EB}" dt="2025-05-05T18:50:42.212" v="1332" actId="20577"/>
        <pc:sldMkLst>
          <pc:docMk/>
          <pc:sldMk cId="238744497" sldId="349"/>
        </pc:sldMkLst>
        <pc:spChg chg="mod">
          <ac:chgData name="Alessia Ceroni" userId="59238df8-040f-40e7-81e6-4838df61c6e5" providerId="ADAL" clId="{0BB3BAF5-22C2-D749-AF85-28C587EFC3EB}" dt="2025-05-05T18:50:42.212" v="1332" actId="20577"/>
          <ac:spMkLst>
            <pc:docMk/>
            <pc:sldMk cId="238744497" sldId="349"/>
            <ac:spMk id="2" creationId="{5EEBC9E0-E69A-292B-4504-E602B140F3E8}"/>
          </ac:spMkLst>
        </pc:spChg>
        <pc:picChg chg="add mod modCrop">
          <ac:chgData name="Alessia Ceroni" userId="59238df8-040f-40e7-81e6-4838df61c6e5" providerId="ADAL" clId="{0BB3BAF5-22C2-D749-AF85-28C587EFC3EB}" dt="2025-05-05T18:00:20.972" v="606" actId="1076"/>
          <ac:picMkLst>
            <pc:docMk/>
            <pc:sldMk cId="238744497" sldId="349"/>
            <ac:picMk id="6" creationId="{FB66DD6B-4D82-AC9D-7D67-620B539A2434}"/>
          </ac:picMkLst>
        </pc:picChg>
        <pc:picChg chg="add mod">
          <ac:chgData name="Alessia Ceroni" userId="59238df8-040f-40e7-81e6-4838df61c6e5" providerId="ADAL" clId="{0BB3BAF5-22C2-D749-AF85-28C587EFC3EB}" dt="2025-05-05T18:04:35.472" v="674" actId="1076"/>
          <ac:picMkLst>
            <pc:docMk/>
            <pc:sldMk cId="238744497" sldId="349"/>
            <ac:picMk id="7" creationId="{DB9E18A3-482C-05D0-BB1F-BF2C7CB3B1E7}"/>
          </ac:picMkLst>
        </pc:picChg>
        <pc:picChg chg="add mod">
          <ac:chgData name="Alessia Ceroni" userId="59238df8-040f-40e7-81e6-4838df61c6e5" providerId="ADAL" clId="{0BB3BAF5-22C2-D749-AF85-28C587EFC3EB}" dt="2025-05-05T18:05:10.328" v="681" actId="1038"/>
          <ac:picMkLst>
            <pc:docMk/>
            <pc:sldMk cId="238744497" sldId="349"/>
            <ac:picMk id="8" creationId="{1DBDFD57-977A-78CB-1FFE-41E7303345BE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5T19:00:04.494" v="1728" actId="20577"/>
        <pc:sldMkLst>
          <pc:docMk/>
          <pc:sldMk cId="209559901" sldId="350"/>
        </pc:sldMkLst>
        <pc:spChg chg="mod">
          <ac:chgData name="Alessia Ceroni" userId="59238df8-040f-40e7-81e6-4838df61c6e5" providerId="ADAL" clId="{0BB3BAF5-22C2-D749-AF85-28C587EFC3EB}" dt="2025-05-05T19:00:04.494" v="1728" actId="20577"/>
          <ac:spMkLst>
            <pc:docMk/>
            <pc:sldMk cId="209559901" sldId="350"/>
            <ac:spMk id="2" creationId="{1BCEE29F-79A9-3ACF-7DCF-4710F180BBF9}"/>
          </ac:spMkLst>
        </pc:spChg>
        <pc:picChg chg="add mod">
          <ac:chgData name="Alessia Ceroni" userId="59238df8-040f-40e7-81e6-4838df61c6e5" providerId="ADAL" clId="{0BB3BAF5-22C2-D749-AF85-28C587EFC3EB}" dt="2025-05-05T18:51:41.698" v="1340"/>
          <ac:picMkLst>
            <pc:docMk/>
            <pc:sldMk cId="209559901" sldId="350"/>
            <ac:picMk id="9" creationId="{DCC51AE0-E9D4-06AE-E8AA-FCC51BDA2953}"/>
          </ac:picMkLst>
        </pc:picChg>
        <pc:picChg chg="add mod">
          <ac:chgData name="Alessia Ceroni" userId="59238df8-040f-40e7-81e6-4838df61c6e5" providerId="ADAL" clId="{0BB3BAF5-22C2-D749-AF85-28C587EFC3EB}" dt="2025-05-05T18:52:10.859" v="1359" actId="1036"/>
          <ac:picMkLst>
            <pc:docMk/>
            <pc:sldMk cId="209559901" sldId="350"/>
            <ac:picMk id="10" creationId="{DF9ED716-F27B-E251-4F64-34568392606A}"/>
          </ac:picMkLst>
        </pc:picChg>
        <pc:cxnChg chg="add mod">
          <ac:chgData name="Alessia Ceroni" userId="59238df8-040f-40e7-81e6-4838df61c6e5" providerId="ADAL" clId="{0BB3BAF5-22C2-D749-AF85-28C587EFC3EB}" dt="2025-05-05T18:55:30.006" v="1431" actId="17032"/>
          <ac:cxnSpMkLst>
            <pc:docMk/>
            <pc:sldMk cId="209559901" sldId="350"/>
            <ac:cxnSpMk id="12" creationId="{094237A8-03A5-D640-1C99-9C77E130C5D8}"/>
          </ac:cxnSpMkLst>
        </pc:cxnChg>
        <pc:cxnChg chg="add mod">
          <ac:chgData name="Alessia Ceroni" userId="59238df8-040f-40e7-81e6-4838df61c6e5" providerId="ADAL" clId="{0BB3BAF5-22C2-D749-AF85-28C587EFC3EB}" dt="2025-05-05T18:57:22.622" v="1516" actId="1038"/>
          <ac:cxnSpMkLst>
            <pc:docMk/>
            <pc:sldMk cId="209559901" sldId="350"/>
            <ac:cxnSpMk id="13" creationId="{2A21AF39-944B-F0B8-ECB8-72F1B29A611A}"/>
          </ac:cxnSpMkLst>
        </pc:cxnChg>
      </pc:sldChg>
      <pc:sldChg chg="addSp modSp new mod">
        <pc:chgData name="Alessia Ceroni" userId="59238df8-040f-40e7-81e6-4838df61c6e5" providerId="ADAL" clId="{0BB3BAF5-22C2-D749-AF85-28C587EFC3EB}" dt="2025-05-05T19:04:12.547" v="2300" actId="20577"/>
        <pc:sldMkLst>
          <pc:docMk/>
          <pc:sldMk cId="1916945730" sldId="351"/>
        </pc:sldMkLst>
        <pc:spChg chg="mod">
          <ac:chgData name="Alessia Ceroni" userId="59238df8-040f-40e7-81e6-4838df61c6e5" providerId="ADAL" clId="{0BB3BAF5-22C2-D749-AF85-28C587EFC3EB}" dt="2025-05-05T19:04:12.547" v="2300" actId="20577"/>
          <ac:spMkLst>
            <pc:docMk/>
            <pc:sldMk cId="1916945730" sldId="351"/>
            <ac:spMk id="2" creationId="{C70646BB-1B5D-BC0E-F1C4-C0910FB1D9CF}"/>
          </ac:spMkLst>
        </pc:spChg>
        <pc:picChg chg="add mod">
          <ac:chgData name="Alessia Ceroni" userId="59238df8-040f-40e7-81e6-4838df61c6e5" providerId="ADAL" clId="{0BB3BAF5-22C2-D749-AF85-28C587EFC3EB}" dt="2025-05-05T19:00:10.174" v="1730" actId="1076"/>
          <ac:picMkLst>
            <pc:docMk/>
            <pc:sldMk cId="1916945730" sldId="351"/>
            <ac:picMk id="6" creationId="{0F23AEFA-468B-D614-4150-5AAFD5930091}"/>
          </ac:picMkLst>
        </pc:picChg>
      </pc:sldChg>
      <pc:sldChg chg="addSp modSp new mod">
        <pc:chgData name="Alessia Ceroni" userId="59238df8-040f-40e7-81e6-4838df61c6e5" providerId="ADAL" clId="{0BB3BAF5-22C2-D749-AF85-28C587EFC3EB}" dt="2025-05-08T07:16:31.265" v="9246" actId="207"/>
        <pc:sldMkLst>
          <pc:docMk/>
          <pc:sldMk cId="378009423" sldId="352"/>
        </pc:sldMkLst>
        <pc:spChg chg="mod">
          <ac:chgData name="Alessia Ceroni" userId="59238df8-040f-40e7-81e6-4838df61c6e5" providerId="ADAL" clId="{0BB3BAF5-22C2-D749-AF85-28C587EFC3EB}" dt="2025-05-05T19:30:46.183" v="3081" actId="20577"/>
          <ac:spMkLst>
            <pc:docMk/>
            <pc:sldMk cId="378009423" sldId="352"/>
            <ac:spMk id="2" creationId="{25902EA3-CE9B-5214-B718-DAC472C1B115}"/>
          </ac:spMkLst>
        </pc:spChg>
        <pc:spChg chg="add mod">
          <ac:chgData name="Alessia Ceroni" userId="59238df8-040f-40e7-81e6-4838df61c6e5" providerId="ADAL" clId="{0BB3BAF5-22C2-D749-AF85-28C587EFC3EB}" dt="2025-05-05T19:24:52.919" v="2969" actId="20577"/>
          <ac:spMkLst>
            <pc:docMk/>
            <pc:sldMk cId="378009423" sldId="352"/>
            <ac:spMk id="7" creationId="{D89BD7F3-E8C5-18D1-90DC-F10501EE3050}"/>
          </ac:spMkLst>
        </pc:spChg>
        <pc:spChg chg="add mod">
          <ac:chgData name="Alessia Ceroni" userId="59238df8-040f-40e7-81e6-4838df61c6e5" providerId="ADAL" clId="{0BB3BAF5-22C2-D749-AF85-28C587EFC3EB}" dt="2025-05-05T19:25:53.485" v="3000" actId="14100"/>
          <ac:spMkLst>
            <pc:docMk/>
            <pc:sldMk cId="378009423" sldId="352"/>
            <ac:spMk id="11" creationId="{6BD256F1-0473-AFC6-2458-E43F014D6343}"/>
          </ac:spMkLst>
        </pc:spChg>
        <pc:spChg chg="add mod">
          <ac:chgData name="Alessia Ceroni" userId="59238df8-040f-40e7-81e6-4838df61c6e5" providerId="ADAL" clId="{0BB3BAF5-22C2-D749-AF85-28C587EFC3EB}" dt="2025-05-08T07:16:31.265" v="9246" actId="207"/>
          <ac:spMkLst>
            <pc:docMk/>
            <pc:sldMk cId="378009423" sldId="352"/>
            <ac:spMk id="18" creationId="{93E23E20-3693-68A9-4C4F-0232C90AFB04}"/>
          </ac:spMkLst>
        </pc:spChg>
        <pc:cxnChg chg="add mod">
          <ac:chgData name="Alessia Ceroni" userId="59238df8-040f-40e7-81e6-4838df61c6e5" providerId="ADAL" clId="{0BB3BAF5-22C2-D749-AF85-28C587EFC3EB}" dt="2025-05-05T19:22:56.308" v="2886"/>
          <ac:cxnSpMkLst>
            <pc:docMk/>
            <pc:sldMk cId="378009423" sldId="352"/>
            <ac:cxnSpMk id="6" creationId="{499E4FB0-759B-805A-7768-24FB429A4044}"/>
          </ac:cxnSpMkLst>
        </pc:cxnChg>
        <pc:cxnChg chg="add mod">
          <ac:chgData name="Alessia Ceroni" userId="59238df8-040f-40e7-81e6-4838df61c6e5" providerId="ADAL" clId="{0BB3BAF5-22C2-D749-AF85-28C587EFC3EB}" dt="2025-05-05T19:22:56.308" v="2886"/>
          <ac:cxnSpMkLst>
            <pc:docMk/>
            <pc:sldMk cId="378009423" sldId="352"/>
            <ac:cxnSpMk id="8" creationId="{DE67ABBF-4FA2-7DCD-4EB6-570DCDE892AC}"/>
          </ac:cxnSpMkLst>
        </pc:cxnChg>
        <pc:cxnChg chg="add mod">
          <ac:chgData name="Alessia Ceroni" userId="59238df8-040f-40e7-81e6-4838df61c6e5" providerId="ADAL" clId="{0BB3BAF5-22C2-D749-AF85-28C587EFC3EB}" dt="2025-05-05T19:22:56.308" v="2886"/>
          <ac:cxnSpMkLst>
            <pc:docMk/>
            <pc:sldMk cId="378009423" sldId="352"/>
            <ac:cxnSpMk id="9" creationId="{20428AA2-CB61-D2F6-EC00-11BF4A208820}"/>
          </ac:cxnSpMkLst>
        </pc:cxnChg>
        <pc:cxnChg chg="add mod">
          <ac:chgData name="Alessia Ceroni" userId="59238df8-040f-40e7-81e6-4838df61c6e5" providerId="ADAL" clId="{0BB3BAF5-22C2-D749-AF85-28C587EFC3EB}" dt="2025-05-05T19:25:38.671" v="2980"/>
          <ac:cxnSpMkLst>
            <pc:docMk/>
            <pc:sldMk cId="378009423" sldId="352"/>
            <ac:cxnSpMk id="10" creationId="{38F2AFD8-7AB8-AE0F-119F-629E1C53D575}"/>
          </ac:cxnSpMkLst>
        </pc:cxnChg>
        <pc:cxnChg chg="add mod">
          <ac:chgData name="Alessia Ceroni" userId="59238df8-040f-40e7-81e6-4838df61c6e5" providerId="ADAL" clId="{0BB3BAF5-22C2-D749-AF85-28C587EFC3EB}" dt="2025-05-05T19:26:00.667" v="3001" actId="1076"/>
          <ac:cxnSpMkLst>
            <pc:docMk/>
            <pc:sldMk cId="378009423" sldId="352"/>
            <ac:cxnSpMk id="12" creationId="{78EC4B6A-D7E8-7634-D8F2-8FF096C541DF}"/>
          </ac:cxnSpMkLst>
        </pc:cxnChg>
        <pc:cxnChg chg="add mod">
          <ac:chgData name="Alessia Ceroni" userId="59238df8-040f-40e7-81e6-4838df61c6e5" providerId="ADAL" clId="{0BB3BAF5-22C2-D749-AF85-28C587EFC3EB}" dt="2025-05-05T19:25:38.671" v="2980"/>
          <ac:cxnSpMkLst>
            <pc:docMk/>
            <pc:sldMk cId="378009423" sldId="352"/>
            <ac:cxnSpMk id="13" creationId="{F5071AF6-7823-695F-FB91-9C47C811CA57}"/>
          </ac:cxnSpMkLst>
        </pc:cxnChg>
        <pc:cxnChg chg="add mod">
          <ac:chgData name="Alessia Ceroni" userId="59238df8-040f-40e7-81e6-4838df61c6e5" providerId="ADAL" clId="{0BB3BAF5-22C2-D749-AF85-28C587EFC3EB}" dt="2025-05-08T07:14:50.615" v="9152" actId="14100"/>
          <ac:cxnSpMkLst>
            <pc:docMk/>
            <pc:sldMk cId="378009423" sldId="352"/>
            <ac:cxnSpMk id="15" creationId="{E2F03BBD-9E62-3A8C-1ADD-67192E221733}"/>
          </ac:cxnSpMkLst>
        </pc:cxnChg>
      </pc:sldChg>
      <pc:sldChg chg="addSp delSp modSp new mod">
        <pc:chgData name="Alessia Ceroni" userId="59238df8-040f-40e7-81e6-4838df61c6e5" providerId="ADAL" clId="{0BB3BAF5-22C2-D749-AF85-28C587EFC3EB}" dt="2025-05-05T21:21:01.553" v="4052" actId="20577"/>
        <pc:sldMkLst>
          <pc:docMk/>
          <pc:sldMk cId="3917144232" sldId="353"/>
        </pc:sldMkLst>
        <pc:spChg chg="mod">
          <ac:chgData name="Alessia Ceroni" userId="59238df8-040f-40e7-81e6-4838df61c6e5" providerId="ADAL" clId="{0BB3BAF5-22C2-D749-AF85-28C587EFC3EB}" dt="2025-05-05T21:21:01.553" v="4052" actId="20577"/>
          <ac:spMkLst>
            <pc:docMk/>
            <pc:sldMk cId="3917144232" sldId="353"/>
            <ac:spMk id="2" creationId="{A3C75D63-F664-0871-7BF7-DFD5E57BF30E}"/>
          </ac:spMkLst>
        </pc:spChg>
        <pc:picChg chg="add mod">
          <ac:chgData name="Alessia Ceroni" userId="59238df8-040f-40e7-81e6-4838df61c6e5" providerId="ADAL" clId="{0BB3BAF5-22C2-D749-AF85-28C587EFC3EB}" dt="2025-05-05T20:08:18.884" v="3221" actId="1076"/>
          <ac:picMkLst>
            <pc:docMk/>
            <pc:sldMk cId="3917144232" sldId="353"/>
            <ac:picMk id="7" creationId="{3F4E54CF-0BCB-FFCF-C96B-8DFA992E59C5}"/>
          </ac:picMkLst>
        </pc:picChg>
        <pc:picChg chg="add mod">
          <ac:chgData name="Alessia Ceroni" userId="59238df8-040f-40e7-81e6-4838df61c6e5" providerId="ADAL" clId="{0BB3BAF5-22C2-D749-AF85-28C587EFC3EB}" dt="2025-05-05T20:08:53.379" v="3236" actId="1036"/>
          <ac:picMkLst>
            <pc:docMk/>
            <pc:sldMk cId="3917144232" sldId="353"/>
            <ac:picMk id="8" creationId="{AD15EFD3-0EE5-CBA1-1ED5-DF17A339D043}"/>
          </ac:picMkLst>
        </pc:picChg>
      </pc:sldChg>
      <pc:sldChg chg="addSp modSp new mod">
        <pc:chgData name="Alessia Ceroni" userId="59238df8-040f-40e7-81e6-4838df61c6e5" providerId="ADAL" clId="{0BB3BAF5-22C2-D749-AF85-28C587EFC3EB}" dt="2025-05-06T08:28:17.379" v="6491" actId="58"/>
        <pc:sldMkLst>
          <pc:docMk/>
          <pc:sldMk cId="1586056990" sldId="354"/>
        </pc:sldMkLst>
        <pc:spChg chg="mod">
          <ac:chgData name="Alessia Ceroni" userId="59238df8-040f-40e7-81e6-4838df61c6e5" providerId="ADAL" clId="{0BB3BAF5-22C2-D749-AF85-28C587EFC3EB}" dt="2025-05-06T08:28:17.379" v="6491" actId="58"/>
          <ac:spMkLst>
            <pc:docMk/>
            <pc:sldMk cId="1586056990" sldId="354"/>
            <ac:spMk id="2" creationId="{8C82DB42-8292-97C9-34F5-9715C4A69A01}"/>
          </ac:spMkLst>
        </pc:spChg>
        <pc:spChg chg="add mod">
          <ac:chgData name="Alessia Ceroni" userId="59238df8-040f-40e7-81e6-4838df61c6e5" providerId="ADAL" clId="{0BB3BAF5-22C2-D749-AF85-28C587EFC3EB}" dt="2025-05-06T07:37:19.213" v="5050" actId="20577"/>
          <ac:spMkLst>
            <pc:docMk/>
            <pc:sldMk cId="1586056990" sldId="354"/>
            <ac:spMk id="9" creationId="{824A79C1-E714-C532-AB7B-2F729156C2E2}"/>
          </ac:spMkLst>
        </pc:spChg>
        <pc:picChg chg="add mod">
          <ac:chgData name="Alessia Ceroni" userId="59238df8-040f-40e7-81e6-4838df61c6e5" providerId="ADAL" clId="{0BB3BAF5-22C2-D749-AF85-28C587EFC3EB}" dt="2025-05-06T07:35:02.738" v="4873" actId="1036"/>
          <ac:picMkLst>
            <pc:docMk/>
            <pc:sldMk cId="1586056990" sldId="354"/>
            <ac:picMk id="6" creationId="{BF7BA781-04C5-4DC5-B261-49648B61E744}"/>
          </ac:picMkLst>
        </pc:picChg>
        <pc:picChg chg="add mod">
          <ac:chgData name="Alessia Ceroni" userId="59238df8-040f-40e7-81e6-4838df61c6e5" providerId="ADAL" clId="{0BB3BAF5-22C2-D749-AF85-28C587EFC3EB}" dt="2025-05-06T07:35:02.738" v="4873" actId="1036"/>
          <ac:picMkLst>
            <pc:docMk/>
            <pc:sldMk cId="1586056990" sldId="354"/>
            <ac:picMk id="7" creationId="{2389BDAD-CAD6-5EEE-F9D1-0A6F21B90885}"/>
          </ac:picMkLst>
        </pc:picChg>
        <pc:picChg chg="add mod">
          <ac:chgData name="Alessia Ceroni" userId="59238df8-040f-40e7-81e6-4838df61c6e5" providerId="ADAL" clId="{0BB3BAF5-22C2-D749-AF85-28C587EFC3EB}" dt="2025-05-06T07:35:02.738" v="4873" actId="1036"/>
          <ac:picMkLst>
            <pc:docMk/>
            <pc:sldMk cId="1586056990" sldId="354"/>
            <ac:picMk id="8" creationId="{641C6B3D-AE8D-76BF-FB12-25D5895FCDF3}"/>
          </ac:picMkLst>
        </pc:picChg>
      </pc:sldChg>
      <pc:sldChg chg="addSp delSp modSp new mod">
        <pc:chgData name="Alessia Ceroni" userId="59238df8-040f-40e7-81e6-4838df61c6e5" providerId="ADAL" clId="{0BB3BAF5-22C2-D749-AF85-28C587EFC3EB}" dt="2025-05-07T13:50:27.779" v="9061" actId="20577"/>
        <pc:sldMkLst>
          <pc:docMk/>
          <pc:sldMk cId="767818040" sldId="355"/>
        </pc:sldMkLst>
        <pc:spChg chg="mod">
          <ac:chgData name="Alessia Ceroni" userId="59238df8-040f-40e7-81e6-4838df61c6e5" providerId="ADAL" clId="{0BB3BAF5-22C2-D749-AF85-28C587EFC3EB}" dt="2025-05-07T13:50:27.779" v="9061" actId="20577"/>
          <ac:spMkLst>
            <pc:docMk/>
            <pc:sldMk cId="767818040" sldId="355"/>
            <ac:spMk id="2" creationId="{184769DA-522C-B30A-B77C-6E8F94115E1C}"/>
          </ac:spMkLst>
        </pc:spChg>
        <pc:spChg chg="add mod">
          <ac:chgData name="Alessia Ceroni" userId="59238df8-040f-40e7-81e6-4838df61c6e5" providerId="ADAL" clId="{0BB3BAF5-22C2-D749-AF85-28C587EFC3EB}" dt="2025-05-06T10:17:47.858" v="7888" actId="1076"/>
          <ac:spMkLst>
            <pc:docMk/>
            <pc:sldMk cId="767818040" sldId="355"/>
            <ac:spMk id="6" creationId="{EC4BEA8A-1A0A-D469-F3BC-8E438649783F}"/>
          </ac:spMkLst>
        </pc:spChg>
        <pc:picChg chg="add mod modCrop">
          <ac:chgData name="Alessia Ceroni" userId="59238df8-040f-40e7-81e6-4838df61c6e5" providerId="ADAL" clId="{0BB3BAF5-22C2-D749-AF85-28C587EFC3EB}" dt="2025-05-06T10:17:52.251" v="7894" actId="1036"/>
          <ac:picMkLst>
            <pc:docMk/>
            <pc:sldMk cId="767818040" sldId="355"/>
            <ac:picMk id="10" creationId="{C28D332D-10DE-A4AD-4458-EA821908C21A}"/>
          </ac:picMkLst>
        </pc:picChg>
        <pc:picChg chg="add mod modCrop">
          <ac:chgData name="Alessia Ceroni" userId="59238df8-040f-40e7-81e6-4838df61c6e5" providerId="ADAL" clId="{0BB3BAF5-22C2-D749-AF85-28C587EFC3EB}" dt="2025-05-06T10:18:27.873" v="7901" actId="1076"/>
          <ac:picMkLst>
            <pc:docMk/>
            <pc:sldMk cId="767818040" sldId="355"/>
            <ac:picMk id="12" creationId="{4290EED4-8F93-8330-13F8-ED944C94A524}"/>
          </ac:picMkLst>
        </pc:picChg>
        <pc:picChg chg="add mod modCrop">
          <ac:chgData name="Alessia Ceroni" userId="59238df8-040f-40e7-81e6-4838df61c6e5" providerId="ADAL" clId="{0BB3BAF5-22C2-D749-AF85-28C587EFC3EB}" dt="2025-05-06T10:19:22.528" v="7918" actId="1076"/>
          <ac:picMkLst>
            <pc:docMk/>
            <pc:sldMk cId="767818040" sldId="355"/>
            <ac:picMk id="14" creationId="{E59F8F2C-7133-8573-D305-C9DA446902CE}"/>
          </ac:picMkLst>
        </pc:picChg>
        <pc:picChg chg="add mod">
          <ac:chgData name="Alessia Ceroni" userId="59238df8-040f-40e7-81e6-4838df61c6e5" providerId="ADAL" clId="{0BB3BAF5-22C2-D749-AF85-28C587EFC3EB}" dt="2025-05-06T10:21:00.455" v="7947" actId="1076"/>
          <ac:picMkLst>
            <pc:docMk/>
            <pc:sldMk cId="767818040" sldId="355"/>
            <ac:picMk id="15" creationId="{5F070023-363B-BEE9-D804-374A7267609B}"/>
          </ac:picMkLst>
        </pc:picChg>
      </pc:sldChg>
      <pc:sldChg chg="addSp delSp modSp new mod">
        <pc:chgData name="Alessia Ceroni" userId="59238df8-040f-40e7-81e6-4838df61c6e5" providerId="ADAL" clId="{0BB3BAF5-22C2-D749-AF85-28C587EFC3EB}" dt="2025-05-08T08:05:20.683" v="10303" actId="167"/>
        <pc:sldMkLst>
          <pc:docMk/>
          <pc:sldMk cId="1334818033" sldId="356"/>
        </pc:sldMkLst>
        <pc:spChg chg="mod">
          <ac:chgData name="Alessia Ceroni" userId="59238df8-040f-40e7-81e6-4838df61c6e5" providerId="ADAL" clId="{0BB3BAF5-22C2-D749-AF85-28C587EFC3EB}" dt="2025-05-08T07:54:55.811" v="10204" actId="20577"/>
          <ac:spMkLst>
            <pc:docMk/>
            <pc:sldMk cId="1334818033" sldId="356"/>
            <ac:spMk id="2" creationId="{47FBA733-A02D-5BB9-F4FA-FB26A57E42C3}"/>
          </ac:spMkLst>
        </pc:spChg>
        <pc:spChg chg="del">
          <ac:chgData name="Alessia Ceroni" userId="59238df8-040f-40e7-81e6-4838df61c6e5" providerId="ADAL" clId="{0BB3BAF5-22C2-D749-AF85-28C587EFC3EB}" dt="2025-05-08T07:54:45.649" v="10180" actId="478"/>
          <ac:spMkLst>
            <pc:docMk/>
            <pc:sldMk cId="1334818033" sldId="356"/>
            <ac:spMk id="3" creationId="{8810CE37-D091-CC5A-9200-55807A26ED71}"/>
          </ac:spMkLst>
        </pc:spChg>
        <pc:picChg chg="add mod">
          <ac:chgData name="Alessia Ceroni" userId="59238df8-040f-40e7-81e6-4838df61c6e5" providerId="ADAL" clId="{0BB3BAF5-22C2-D749-AF85-28C587EFC3EB}" dt="2025-05-08T07:55:00.126" v="10216" actId="1036"/>
          <ac:picMkLst>
            <pc:docMk/>
            <pc:sldMk cId="1334818033" sldId="356"/>
            <ac:picMk id="6" creationId="{402690BA-7561-C60D-BDBF-4F79174F0FF5}"/>
          </ac:picMkLst>
        </pc:picChg>
        <pc:picChg chg="add mod">
          <ac:chgData name="Alessia Ceroni" userId="59238df8-040f-40e7-81e6-4838df61c6e5" providerId="ADAL" clId="{0BB3BAF5-22C2-D749-AF85-28C587EFC3EB}" dt="2025-05-08T07:55:00.126" v="10216" actId="1036"/>
          <ac:picMkLst>
            <pc:docMk/>
            <pc:sldMk cId="1334818033" sldId="356"/>
            <ac:picMk id="7" creationId="{45543DC7-025D-CD25-F281-03C3E05A0775}"/>
          </ac:picMkLst>
        </pc:picChg>
        <pc:picChg chg="add mod">
          <ac:chgData name="Alessia Ceroni" userId="59238df8-040f-40e7-81e6-4838df61c6e5" providerId="ADAL" clId="{0BB3BAF5-22C2-D749-AF85-28C587EFC3EB}" dt="2025-05-08T07:55:00.126" v="10216" actId="1036"/>
          <ac:picMkLst>
            <pc:docMk/>
            <pc:sldMk cId="1334818033" sldId="356"/>
            <ac:picMk id="8" creationId="{744EF4D4-4AF3-FEDB-F326-40E565A25D40}"/>
          </ac:picMkLst>
        </pc:picChg>
        <pc:picChg chg="add mod">
          <ac:chgData name="Alessia Ceroni" userId="59238df8-040f-40e7-81e6-4838df61c6e5" providerId="ADAL" clId="{0BB3BAF5-22C2-D749-AF85-28C587EFC3EB}" dt="2025-05-08T08:03:49.698" v="10288" actId="1076"/>
          <ac:picMkLst>
            <pc:docMk/>
            <pc:sldMk cId="1334818033" sldId="356"/>
            <ac:picMk id="9" creationId="{AD121701-C7DB-44FB-A709-7D488B76DE0E}"/>
          </ac:picMkLst>
        </pc:picChg>
        <pc:picChg chg="add mod">
          <ac:chgData name="Alessia Ceroni" userId="59238df8-040f-40e7-81e6-4838df61c6e5" providerId="ADAL" clId="{0BB3BAF5-22C2-D749-AF85-28C587EFC3EB}" dt="2025-05-08T08:04:31.897" v="10293" actId="1076"/>
          <ac:picMkLst>
            <pc:docMk/>
            <pc:sldMk cId="1334818033" sldId="356"/>
            <ac:picMk id="10" creationId="{E26362F5-FACB-363E-6C06-D7F16C530057}"/>
          </ac:picMkLst>
        </pc:picChg>
        <pc:picChg chg="add mod">
          <ac:chgData name="Alessia Ceroni" userId="59238df8-040f-40e7-81e6-4838df61c6e5" providerId="ADAL" clId="{0BB3BAF5-22C2-D749-AF85-28C587EFC3EB}" dt="2025-05-08T08:05:20.683" v="10303" actId="167"/>
          <ac:picMkLst>
            <pc:docMk/>
            <pc:sldMk cId="1334818033" sldId="356"/>
            <ac:picMk id="11" creationId="{3F167954-09E2-7C39-DF73-B789F116BC1C}"/>
          </ac:picMkLst>
        </pc:picChg>
      </pc:sldChg>
      <pc:sldChg chg="addSp modSp new mod ord">
        <pc:chgData name="Alessia Ceroni" userId="59238df8-040f-40e7-81e6-4838df61c6e5" providerId="ADAL" clId="{0BB3BAF5-22C2-D749-AF85-28C587EFC3EB}" dt="2025-05-07T13:52:55.141" v="9080" actId="20577"/>
        <pc:sldMkLst>
          <pc:docMk/>
          <pc:sldMk cId="4294193522" sldId="357"/>
        </pc:sldMkLst>
        <pc:spChg chg="mod">
          <ac:chgData name="Alessia Ceroni" userId="59238df8-040f-40e7-81e6-4838df61c6e5" providerId="ADAL" clId="{0BB3BAF5-22C2-D749-AF85-28C587EFC3EB}" dt="2025-05-07T13:52:55.141" v="9080" actId="20577"/>
          <ac:spMkLst>
            <pc:docMk/>
            <pc:sldMk cId="4294193522" sldId="357"/>
            <ac:spMk id="2" creationId="{EFE50A5A-9D65-D2D7-4291-7F1345BF4647}"/>
          </ac:spMkLst>
        </pc:spChg>
        <pc:picChg chg="add mod modCrop">
          <ac:chgData name="Alessia Ceroni" userId="59238df8-040f-40e7-81e6-4838df61c6e5" providerId="ADAL" clId="{0BB3BAF5-22C2-D749-AF85-28C587EFC3EB}" dt="2025-05-06T08:33:19.980" v="6612" actId="1038"/>
          <ac:picMkLst>
            <pc:docMk/>
            <pc:sldMk cId="4294193522" sldId="357"/>
            <ac:picMk id="6" creationId="{274CCA3B-6DFA-659C-B724-08378213BDE8}"/>
          </ac:picMkLst>
        </pc:picChg>
        <pc:picChg chg="add mod modCrop">
          <ac:chgData name="Alessia Ceroni" userId="59238df8-040f-40e7-81e6-4838df61c6e5" providerId="ADAL" clId="{0BB3BAF5-22C2-D749-AF85-28C587EFC3EB}" dt="2025-05-06T08:32:32.107" v="6604" actId="1035"/>
          <ac:picMkLst>
            <pc:docMk/>
            <pc:sldMk cId="4294193522" sldId="357"/>
            <ac:picMk id="7" creationId="{B1881912-463B-04CD-D5A7-B98ABAE6092B}"/>
          </ac:picMkLst>
        </pc:picChg>
      </pc:sldChg>
      <pc:sldChg chg="addSp modSp new mod">
        <pc:chgData name="Alessia Ceroni" userId="59238df8-040f-40e7-81e6-4838df61c6e5" providerId="ADAL" clId="{0BB3BAF5-22C2-D749-AF85-28C587EFC3EB}" dt="2025-05-06T10:23:15.575" v="7981" actId="113"/>
        <pc:sldMkLst>
          <pc:docMk/>
          <pc:sldMk cId="4171870701" sldId="358"/>
        </pc:sldMkLst>
        <pc:spChg chg="mod">
          <ac:chgData name="Alessia Ceroni" userId="59238df8-040f-40e7-81e6-4838df61c6e5" providerId="ADAL" clId="{0BB3BAF5-22C2-D749-AF85-28C587EFC3EB}" dt="2025-05-06T08:39:58.961" v="7038" actId="20577"/>
          <ac:spMkLst>
            <pc:docMk/>
            <pc:sldMk cId="4171870701" sldId="358"/>
            <ac:spMk id="2" creationId="{364A2503-37EF-6787-7BAD-1E875C7BAF7C}"/>
          </ac:spMkLst>
        </pc:spChg>
        <pc:graphicFrameChg chg="add mod modGraphic">
          <ac:chgData name="Alessia Ceroni" userId="59238df8-040f-40e7-81e6-4838df61c6e5" providerId="ADAL" clId="{0BB3BAF5-22C2-D749-AF85-28C587EFC3EB}" dt="2025-05-06T10:23:15.575" v="7981" actId="113"/>
          <ac:graphicFrameMkLst>
            <pc:docMk/>
            <pc:sldMk cId="4171870701" sldId="358"/>
            <ac:graphicFrameMk id="6" creationId="{E0539745-13EC-CBC2-4DA8-1A361EECE728}"/>
          </ac:graphicFrameMkLst>
        </pc:graphicFrameChg>
      </pc:sldChg>
      <pc:sldChg chg="addSp delSp modSp new mod">
        <pc:chgData name="Alessia Ceroni" userId="59238df8-040f-40e7-81e6-4838df61c6e5" providerId="ADAL" clId="{0BB3BAF5-22C2-D749-AF85-28C587EFC3EB}" dt="2025-05-06T09:23:09.565" v="7703" actId="478"/>
        <pc:sldMkLst>
          <pc:docMk/>
          <pc:sldMk cId="1074674994" sldId="359"/>
        </pc:sldMkLst>
        <pc:spChg chg="mod">
          <ac:chgData name="Alessia Ceroni" userId="59238df8-040f-40e7-81e6-4838df61c6e5" providerId="ADAL" clId="{0BB3BAF5-22C2-D749-AF85-28C587EFC3EB}" dt="2025-05-06T08:34:33.911" v="6635" actId="115"/>
          <ac:spMkLst>
            <pc:docMk/>
            <pc:sldMk cId="1074674994" sldId="359"/>
            <ac:spMk id="2" creationId="{43CEA91C-551B-1F72-683F-CE8253DC222D}"/>
          </ac:spMkLst>
        </pc:spChg>
        <pc:spChg chg="add mod">
          <ac:chgData name="Alessia Ceroni" userId="59238df8-040f-40e7-81e6-4838df61c6e5" providerId="ADAL" clId="{0BB3BAF5-22C2-D749-AF85-28C587EFC3EB}" dt="2025-05-06T08:35:10.969" v="6647" actId="20577"/>
          <ac:spMkLst>
            <pc:docMk/>
            <pc:sldMk cId="1074674994" sldId="359"/>
            <ac:spMk id="6" creationId="{0D458617-2607-BEF0-F358-02DDCDA05394}"/>
          </ac:spMkLst>
        </pc:spChg>
        <pc:picChg chg="add mod modCrop">
          <ac:chgData name="Alessia Ceroni" userId="59238df8-040f-40e7-81e6-4838df61c6e5" providerId="ADAL" clId="{0BB3BAF5-22C2-D749-AF85-28C587EFC3EB}" dt="2025-05-06T09:14:57.824" v="7476" actId="1076"/>
          <ac:picMkLst>
            <pc:docMk/>
            <pc:sldMk cId="1074674994" sldId="359"/>
            <ac:picMk id="8" creationId="{7D6B6C7F-51E5-94B0-93B1-CE4CCD790BFC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6T11:44:45.933" v="8027" actId="1035"/>
        <pc:sldMkLst>
          <pc:docMk/>
          <pc:sldMk cId="223771797" sldId="360"/>
        </pc:sldMkLst>
        <pc:spChg chg="mod">
          <ac:chgData name="Alessia Ceroni" userId="59238df8-040f-40e7-81e6-4838df61c6e5" providerId="ADAL" clId="{0BB3BAF5-22C2-D749-AF85-28C587EFC3EB}" dt="2025-05-06T11:44:45.933" v="8027" actId="1035"/>
          <ac:spMkLst>
            <pc:docMk/>
            <pc:sldMk cId="223771797" sldId="360"/>
            <ac:spMk id="6" creationId="{99750C46-73A9-AD03-C856-E9F234E554F0}"/>
          </ac:spMkLst>
        </pc:spChg>
        <pc:picChg chg="add mod modCrop">
          <ac:chgData name="Alessia Ceroni" userId="59238df8-040f-40e7-81e6-4838df61c6e5" providerId="ADAL" clId="{0BB3BAF5-22C2-D749-AF85-28C587EFC3EB}" dt="2025-05-06T11:44:35.320" v="8015" actId="1036"/>
          <ac:picMkLst>
            <pc:docMk/>
            <pc:sldMk cId="223771797" sldId="360"/>
            <ac:picMk id="10" creationId="{91397E96-B745-811D-CAE4-DDB92AA0B9FB}"/>
          </ac:picMkLst>
        </pc:picChg>
        <pc:picChg chg="add mod modCrop">
          <ac:chgData name="Alessia Ceroni" userId="59238df8-040f-40e7-81e6-4838df61c6e5" providerId="ADAL" clId="{0BB3BAF5-22C2-D749-AF85-28C587EFC3EB}" dt="2025-05-06T11:44:35.320" v="8015" actId="1036"/>
          <ac:picMkLst>
            <pc:docMk/>
            <pc:sldMk cId="223771797" sldId="360"/>
            <ac:picMk id="12" creationId="{7EE6C489-38CB-E5C6-F95B-8B7F7C1DBCA5}"/>
          </ac:picMkLst>
        </pc:picChg>
      </pc:sldChg>
      <pc:sldChg chg="add">
        <pc:chgData name="Alessia Ceroni" userId="59238df8-040f-40e7-81e6-4838df61c6e5" providerId="ADAL" clId="{0BB3BAF5-22C2-D749-AF85-28C587EFC3EB}" dt="2025-05-06T09:22:54.730" v="7699"/>
        <pc:sldMkLst>
          <pc:docMk/>
          <pc:sldMk cId="2705402358" sldId="361"/>
        </pc:sldMkLst>
      </pc:sldChg>
      <pc:sldChg chg="addSp delSp modSp add mod">
        <pc:chgData name="Alessia Ceroni" userId="59238df8-040f-40e7-81e6-4838df61c6e5" providerId="ADAL" clId="{0BB3BAF5-22C2-D749-AF85-28C587EFC3EB}" dt="2025-05-06T09:52:11.559" v="7839" actId="20577"/>
        <pc:sldMkLst>
          <pc:docMk/>
          <pc:sldMk cId="2442937952" sldId="362"/>
        </pc:sldMkLst>
        <pc:spChg chg="mod">
          <ac:chgData name="Alessia Ceroni" userId="59238df8-040f-40e7-81e6-4838df61c6e5" providerId="ADAL" clId="{0BB3BAF5-22C2-D749-AF85-28C587EFC3EB}" dt="2025-05-06T09:52:11.559" v="7839" actId="20577"/>
          <ac:spMkLst>
            <pc:docMk/>
            <pc:sldMk cId="2442937952" sldId="362"/>
            <ac:spMk id="3" creationId="{9048F999-03F5-7793-275F-FB1BE33750AB}"/>
          </ac:spMkLst>
        </pc:spChg>
        <pc:picChg chg="add mod">
          <ac:chgData name="Alessia Ceroni" userId="59238df8-040f-40e7-81e6-4838df61c6e5" providerId="ADAL" clId="{0BB3BAF5-22C2-D749-AF85-28C587EFC3EB}" dt="2025-05-06T09:48:50.451" v="7726" actId="1038"/>
          <ac:picMkLst>
            <pc:docMk/>
            <pc:sldMk cId="2442937952" sldId="362"/>
            <ac:picMk id="7" creationId="{13A1AAC2-B5B7-FEE4-032B-7E3D7C75D239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6T09:52:08.187" v="7838" actId="20577"/>
        <pc:sldMkLst>
          <pc:docMk/>
          <pc:sldMk cId="4082906203" sldId="363"/>
        </pc:sldMkLst>
        <pc:spChg chg="mod">
          <ac:chgData name="Alessia Ceroni" userId="59238df8-040f-40e7-81e6-4838df61c6e5" providerId="ADAL" clId="{0BB3BAF5-22C2-D749-AF85-28C587EFC3EB}" dt="2025-05-06T09:52:08.187" v="7838" actId="20577"/>
          <ac:spMkLst>
            <pc:docMk/>
            <pc:sldMk cId="4082906203" sldId="363"/>
            <ac:spMk id="3" creationId="{A7324B70-3806-C13C-B4A8-D3CB69BD9404}"/>
          </ac:spMkLst>
        </pc:spChg>
        <pc:spChg chg="mod">
          <ac:chgData name="Alessia Ceroni" userId="59238df8-040f-40e7-81e6-4838df61c6e5" providerId="ADAL" clId="{0BB3BAF5-22C2-D749-AF85-28C587EFC3EB}" dt="2025-05-06T09:51:13.606" v="7829" actId="20577"/>
          <ac:spMkLst>
            <pc:docMk/>
            <pc:sldMk cId="4082906203" sldId="363"/>
            <ac:spMk id="15" creationId="{193A93E4-60D3-935B-273A-6710285A454D}"/>
          </ac:spMkLst>
        </pc:spChg>
        <pc:spChg chg="mod">
          <ac:chgData name="Alessia Ceroni" userId="59238df8-040f-40e7-81e6-4838df61c6e5" providerId="ADAL" clId="{0BB3BAF5-22C2-D749-AF85-28C587EFC3EB}" dt="2025-05-06T09:51:59.896" v="7837" actId="20577"/>
          <ac:spMkLst>
            <pc:docMk/>
            <pc:sldMk cId="4082906203" sldId="363"/>
            <ac:spMk id="17" creationId="{17BEFB7B-5CC0-E74A-66A1-1BA5E3A9FFA5}"/>
          </ac:spMkLst>
        </pc:spChg>
        <pc:spChg chg="mod">
          <ac:chgData name="Alessia Ceroni" userId="59238df8-040f-40e7-81e6-4838df61c6e5" providerId="ADAL" clId="{0BB3BAF5-22C2-D749-AF85-28C587EFC3EB}" dt="2025-05-06T09:51:56.817" v="7834" actId="20577"/>
          <ac:spMkLst>
            <pc:docMk/>
            <pc:sldMk cId="4082906203" sldId="363"/>
            <ac:spMk id="19" creationId="{EFF27412-BE52-3201-BA45-774FF7E39801}"/>
          </ac:spMkLst>
        </pc:spChg>
        <pc:picChg chg="add mod">
          <ac:chgData name="Alessia Ceroni" userId="59238df8-040f-40e7-81e6-4838df61c6e5" providerId="ADAL" clId="{0BB3BAF5-22C2-D749-AF85-28C587EFC3EB}" dt="2025-05-06T09:49:13.118" v="7731" actId="167"/>
          <ac:picMkLst>
            <pc:docMk/>
            <pc:sldMk cId="4082906203" sldId="363"/>
            <ac:picMk id="7" creationId="{2F6E4981-F3C8-8582-6269-92554CDC56A7}"/>
          </ac:picMkLst>
        </pc:picChg>
        <pc:cxnChg chg="mod">
          <ac:chgData name="Alessia Ceroni" userId="59238df8-040f-40e7-81e6-4838df61c6e5" providerId="ADAL" clId="{0BB3BAF5-22C2-D749-AF85-28C587EFC3EB}" dt="2025-05-06T09:51:09.901" v="7826" actId="14100"/>
          <ac:cxnSpMkLst>
            <pc:docMk/>
            <pc:sldMk cId="4082906203" sldId="363"/>
            <ac:cxnSpMk id="14" creationId="{4A9BA41C-651D-EB9A-3D51-D6EAB7EA1BAD}"/>
          </ac:cxnSpMkLst>
        </pc:cxnChg>
        <pc:cxnChg chg="mod">
          <ac:chgData name="Alessia Ceroni" userId="59238df8-040f-40e7-81e6-4838df61c6e5" providerId="ADAL" clId="{0BB3BAF5-22C2-D749-AF85-28C587EFC3EB}" dt="2025-05-06T09:51:48.216" v="7830" actId="1076"/>
          <ac:cxnSpMkLst>
            <pc:docMk/>
            <pc:sldMk cId="4082906203" sldId="363"/>
            <ac:cxnSpMk id="16" creationId="{36AC254C-7296-FA87-CEEE-373E856C4ABA}"/>
          </ac:cxnSpMkLst>
        </pc:cxnChg>
        <pc:cxnChg chg="mod">
          <ac:chgData name="Alessia Ceroni" userId="59238df8-040f-40e7-81e6-4838df61c6e5" providerId="ADAL" clId="{0BB3BAF5-22C2-D749-AF85-28C587EFC3EB}" dt="2025-05-06T09:51:54.832" v="7831" actId="1076"/>
          <ac:cxnSpMkLst>
            <pc:docMk/>
            <pc:sldMk cId="4082906203" sldId="363"/>
            <ac:cxnSpMk id="18" creationId="{3AA57073-1AEC-2B79-65F3-71CB582978D2}"/>
          </ac:cxnSpMkLst>
        </pc:cxnChg>
      </pc:sldChg>
      <pc:sldChg chg="addSp delSp modSp add mod">
        <pc:chgData name="Alessia Ceroni" userId="59238df8-040f-40e7-81e6-4838df61c6e5" providerId="ADAL" clId="{0BB3BAF5-22C2-D749-AF85-28C587EFC3EB}" dt="2025-05-06T10:20:43.199" v="7942" actId="21"/>
        <pc:sldMkLst>
          <pc:docMk/>
          <pc:sldMk cId="1699563262" sldId="364"/>
        </pc:sldMkLst>
        <pc:spChg chg="mod">
          <ac:chgData name="Alessia Ceroni" userId="59238df8-040f-40e7-81e6-4838df61c6e5" providerId="ADAL" clId="{0BB3BAF5-22C2-D749-AF85-28C587EFC3EB}" dt="2025-05-06T10:20:03.741" v="7926" actId="20577"/>
          <ac:spMkLst>
            <pc:docMk/>
            <pc:sldMk cId="1699563262" sldId="364"/>
            <ac:spMk id="2" creationId="{461BFD7F-9976-F12A-AB79-426941838A06}"/>
          </ac:spMkLst>
        </pc:spChg>
        <pc:spChg chg="mod">
          <ac:chgData name="Alessia Ceroni" userId="59238df8-040f-40e7-81e6-4838df61c6e5" providerId="ADAL" clId="{0BB3BAF5-22C2-D749-AF85-28C587EFC3EB}" dt="2025-05-06T10:20:41.308" v="7941" actId="1076"/>
          <ac:spMkLst>
            <pc:docMk/>
            <pc:sldMk cId="1699563262" sldId="364"/>
            <ac:spMk id="6" creationId="{6BCDB942-F260-3672-D285-94E6FE51BB1D}"/>
          </ac:spMkLst>
        </pc:spChg>
        <pc:picChg chg="add mod modCrop">
          <ac:chgData name="Alessia Ceroni" userId="59238df8-040f-40e7-81e6-4838df61c6e5" providerId="ADAL" clId="{0BB3BAF5-22C2-D749-AF85-28C587EFC3EB}" dt="2025-05-06T10:20:37.523" v="7940" actId="1076"/>
          <ac:picMkLst>
            <pc:docMk/>
            <pc:sldMk cId="1699563262" sldId="364"/>
            <ac:picMk id="7" creationId="{5C32E29F-58F1-4285-9C31-418175790130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6T16:24:08.955" v="8643" actId="167"/>
        <pc:sldMkLst>
          <pc:docMk/>
          <pc:sldMk cId="647580794" sldId="365"/>
        </pc:sldMkLst>
        <pc:spChg chg="mod">
          <ac:chgData name="Alessia Ceroni" userId="59238df8-040f-40e7-81e6-4838df61c6e5" providerId="ADAL" clId="{0BB3BAF5-22C2-D749-AF85-28C587EFC3EB}" dt="2025-05-06T16:23:10.524" v="8639" actId="20577"/>
          <ac:spMkLst>
            <pc:docMk/>
            <pc:sldMk cId="647580794" sldId="365"/>
            <ac:spMk id="2" creationId="{B15FB19B-A415-15BB-71CD-981C693D7C1D}"/>
          </ac:spMkLst>
        </pc:spChg>
        <pc:spChg chg="mod">
          <ac:chgData name="Alessia Ceroni" userId="59238df8-040f-40e7-81e6-4838df61c6e5" providerId="ADAL" clId="{0BB3BAF5-22C2-D749-AF85-28C587EFC3EB}" dt="2025-05-06T16:19:45.640" v="8544" actId="1076"/>
          <ac:spMkLst>
            <pc:docMk/>
            <pc:sldMk cId="647580794" sldId="365"/>
            <ac:spMk id="4" creationId="{7F2D967D-D677-A77C-89A2-5E2FA2ED1530}"/>
          </ac:spMkLst>
        </pc:spChg>
        <pc:spChg chg="mod">
          <ac:chgData name="Alessia Ceroni" userId="59238df8-040f-40e7-81e6-4838df61c6e5" providerId="ADAL" clId="{0BB3BAF5-22C2-D749-AF85-28C587EFC3EB}" dt="2025-05-06T16:19:45.640" v="8544" actId="1076"/>
          <ac:spMkLst>
            <pc:docMk/>
            <pc:sldMk cId="647580794" sldId="365"/>
            <ac:spMk id="5" creationId="{5AE23DF9-AB84-9431-3E75-38A58A07E2A4}"/>
          </ac:spMkLst>
        </pc:spChg>
        <pc:picChg chg="add mod">
          <ac:chgData name="Alessia Ceroni" userId="59238df8-040f-40e7-81e6-4838df61c6e5" providerId="ADAL" clId="{0BB3BAF5-22C2-D749-AF85-28C587EFC3EB}" dt="2025-05-06T16:22:43.285" v="8622" actId="1035"/>
          <ac:picMkLst>
            <pc:docMk/>
            <pc:sldMk cId="647580794" sldId="365"/>
            <ac:picMk id="6" creationId="{1B072D3A-2CAF-7917-E325-DA82ED7698EC}"/>
          </ac:picMkLst>
        </pc:picChg>
        <pc:picChg chg="add mod">
          <ac:chgData name="Alessia Ceroni" userId="59238df8-040f-40e7-81e6-4838df61c6e5" providerId="ADAL" clId="{0BB3BAF5-22C2-D749-AF85-28C587EFC3EB}" dt="2025-05-06T16:22:43.285" v="8622" actId="1035"/>
          <ac:picMkLst>
            <pc:docMk/>
            <pc:sldMk cId="647580794" sldId="365"/>
            <ac:picMk id="7" creationId="{14654309-E7A1-C5D4-260A-D4414EB98740}"/>
          </ac:picMkLst>
        </pc:picChg>
        <pc:picChg chg="add mod">
          <ac:chgData name="Alessia Ceroni" userId="59238df8-040f-40e7-81e6-4838df61c6e5" providerId="ADAL" clId="{0BB3BAF5-22C2-D749-AF85-28C587EFC3EB}" dt="2025-05-06T16:22:43.285" v="8622" actId="1035"/>
          <ac:picMkLst>
            <pc:docMk/>
            <pc:sldMk cId="647580794" sldId="365"/>
            <ac:picMk id="8" creationId="{537909D9-1F30-D252-BC97-AFE4C611F09C}"/>
          </ac:picMkLst>
        </pc:picChg>
        <pc:picChg chg="add mod">
          <ac:chgData name="Alessia Ceroni" userId="59238df8-040f-40e7-81e6-4838df61c6e5" providerId="ADAL" clId="{0BB3BAF5-22C2-D749-AF85-28C587EFC3EB}" dt="2025-05-06T16:23:04.315" v="8633" actId="1036"/>
          <ac:picMkLst>
            <pc:docMk/>
            <pc:sldMk cId="647580794" sldId="365"/>
            <ac:picMk id="9" creationId="{EF4EAF59-EC4E-1AA6-CB33-057E92DC6126}"/>
          </ac:picMkLst>
        </pc:picChg>
        <pc:picChg chg="add mod">
          <ac:chgData name="Alessia Ceroni" userId="59238df8-040f-40e7-81e6-4838df61c6e5" providerId="ADAL" clId="{0BB3BAF5-22C2-D749-AF85-28C587EFC3EB}" dt="2025-05-06T16:24:08.955" v="8643" actId="167"/>
          <ac:picMkLst>
            <pc:docMk/>
            <pc:sldMk cId="647580794" sldId="365"/>
            <ac:picMk id="10" creationId="{912CCEBF-9358-F7BD-A64B-8445A6D439B2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6T16:28:44.701" v="8722" actId="1037"/>
        <pc:sldMkLst>
          <pc:docMk/>
          <pc:sldMk cId="3061503184" sldId="366"/>
        </pc:sldMkLst>
        <pc:spChg chg="mod">
          <ac:chgData name="Alessia Ceroni" userId="59238df8-040f-40e7-81e6-4838df61c6e5" providerId="ADAL" clId="{0BB3BAF5-22C2-D749-AF85-28C587EFC3EB}" dt="2025-05-06T16:28:38.614" v="8706" actId="20577"/>
          <ac:spMkLst>
            <pc:docMk/>
            <pc:sldMk cId="3061503184" sldId="366"/>
            <ac:spMk id="2" creationId="{96529AF0-FEA7-1861-48BF-03CC51973CB8}"/>
          </ac:spMkLst>
        </pc:spChg>
        <pc:picChg chg="add mod modCrop">
          <ac:chgData name="Alessia Ceroni" userId="59238df8-040f-40e7-81e6-4838df61c6e5" providerId="ADAL" clId="{0BB3BAF5-22C2-D749-AF85-28C587EFC3EB}" dt="2025-05-06T16:28:44.701" v="8722" actId="1037"/>
          <ac:picMkLst>
            <pc:docMk/>
            <pc:sldMk cId="3061503184" sldId="366"/>
            <ac:picMk id="3" creationId="{151A74B3-8828-D914-0151-29D6E0E7F612}"/>
          </ac:picMkLst>
        </pc:picChg>
        <pc:picChg chg="add mod">
          <ac:chgData name="Alessia Ceroni" userId="59238df8-040f-40e7-81e6-4838df61c6e5" providerId="ADAL" clId="{0BB3BAF5-22C2-D749-AF85-28C587EFC3EB}" dt="2025-05-06T16:28:41.740" v="8715" actId="1037"/>
          <ac:picMkLst>
            <pc:docMk/>
            <pc:sldMk cId="3061503184" sldId="366"/>
            <ac:picMk id="11" creationId="{27F36C5A-7119-161D-E956-FD8B2BB1C308}"/>
          </ac:picMkLst>
        </pc:picChg>
        <pc:picChg chg="add mod">
          <ac:chgData name="Alessia Ceroni" userId="59238df8-040f-40e7-81e6-4838df61c6e5" providerId="ADAL" clId="{0BB3BAF5-22C2-D749-AF85-28C587EFC3EB}" dt="2025-05-06T16:28:37.156" v="8705" actId="1076"/>
          <ac:picMkLst>
            <pc:docMk/>
            <pc:sldMk cId="3061503184" sldId="366"/>
            <ac:picMk id="12" creationId="{689C642B-9B42-FBA0-E703-1E088E465013}"/>
          </ac:picMkLst>
        </pc:picChg>
      </pc:sldChg>
      <pc:sldChg chg="modSp new mod">
        <pc:chgData name="Alessia Ceroni" userId="59238df8-040f-40e7-81e6-4838df61c6e5" providerId="ADAL" clId="{0BB3BAF5-22C2-D749-AF85-28C587EFC3EB}" dt="2025-05-07T08:18:46.002" v="9050" actId="5793"/>
        <pc:sldMkLst>
          <pc:docMk/>
          <pc:sldMk cId="1333370275" sldId="367"/>
        </pc:sldMkLst>
        <pc:spChg chg="mod">
          <ac:chgData name="Alessia Ceroni" userId="59238df8-040f-40e7-81e6-4838df61c6e5" providerId="ADAL" clId="{0BB3BAF5-22C2-D749-AF85-28C587EFC3EB}" dt="2025-05-07T08:18:46.002" v="9050" actId="5793"/>
          <ac:spMkLst>
            <pc:docMk/>
            <pc:sldMk cId="1333370275" sldId="367"/>
            <ac:spMk id="2" creationId="{94B80965-B824-9414-AE0F-9A6A33896C05}"/>
          </ac:spMkLst>
        </pc:spChg>
      </pc:sldChg>
      <pc:sldChg chg="addSp delSp modSp new del">
        <pc:chgData name="Alessia Ceroni" userId="59238df8-040f-40e7-81e6-4838df61c6e5" providerId="ADAL" clId="{0BB3BAF5-22C2-D749-AF85-28C587EFC3EB}" dt="2025-05-07T13:52:21.459" v="9064" actId="2696"/>
        <pc:sldMkLst>
          <pc:docMk/>
          <pc:sldMk cId="1938846757" sldId="368"/>
        </pc:sldMkLst>
        <pc:spChg chg="del">
          <ac:chgData name="Alessia Ceroni" userId="59238df8-040f-40e7-81e6-4838df61c6e5" providerId="ADAL" clId="{0BB3BAF5-22C2-D749-AF85-28C587EFC3EB}" dt="2025-05-07T13:51:14.866" v="9063"/>
          <ac:spMkLst>
            <pc:docMk/>
            <pc:sldMk cId="1938846757" sldId="368"/>
            <ac:spMk id="2" creationId="{BD9FE20B-610C-EBBA-D922-607B75799219}"/>
          </ac:spMkLst>
        </pc:spChg>
        <pc:picChg chg="add mod">
          <ac:chgData name="Alessia Ceroni" userId="59238df8-040f-40e7-81e6-4838df61c6e5" providerId="ADAL" clId="{0BB3BAF5-22C2-D749-AF85-28C587EFC3EB}" dt="2025-05-07T13:51:14.866" v="9063"/>
          <ac:picMkLst>
            <pc:docMk/>
            <pc:sldMk cId="1938846757" sldId="368"/>
            <ac:picMk id="6" creationId="{69EC76FC-4037-9A98-D88C-6F49231111E2}"/>
          </ac:picMkLst>
        </pc:picChg>
      </pc:sldChg>
      <pc:sldChg chg="addSp delSp modSp new mod">
        <pc:chgData name="Alessia Ceroni" userId="59238df8-040f-40e7-81e6-4838df61c6e5" providerId="ADAL" clId="{0BB3BAF5-22C2-D749-AF85-28C587EFC3EB}" dt="2025-05-08T08:23:49.821" v="11113" actId="1076"/>
        <pc:sldMkLst>
          <pc:docMk/>
          <pc:sldMk cId="3934326444" sldId="368"/>
        </pc:sldMkLst>
        <pc:spChg chg="mod">
          <ac:chgData name="Alessia Ceroni" userId="59238df8-040f-40e7-81e6-4838df61c6e5" providerId="ADAL" clId="{0BB3BAF5-22C2-D749-AF85-28C587EFC3EB}" dt="2025-05-08T08:16:00.950" v="11108" actId="20577"/>
          <ac:spMkLst>
            <pc:docMk/>
            <pc:sldMk cId="3934326444" sldId="368"/>
            <ac:spMk id="2" creationId="{F20EBC51-DF72-FB44-4764-0EFB3052D7C8}"/>
          </ac:spMkLst>
        </pc:spChg>
        <pc:picChg chg="add del">
          <ac:chgData name="Alessia Ceroni" userId="59238df8-040f-40e7-81e6-4838df61c6e5" providerId="ADAL" clId="{0BB3BAF5-22C2-D749-AF85-28C587EFC3EB}" dt="2025-05-08T07:55:15.686" v="10221" actId="21"/>
          <ac:picMkLst>
            <pc:docMk/>
            <pc:sldMk cId="3934326444" sldId="368"/>
            <ac:picMk id="6" creationId="{B8D84771-DFAF-6024-CAB0-B3432981CDA9}"/>
          </ac:picMkLst>
        </pc:picChg>
        <pc:picChg chg="add mod">
          <ac:chgData name="Alessia Ceroni" userId="59238df8-040f-40e7-81e6-4838df61c6e5" providerId="ADAL" clId="{0BB3BAF5-22C2-D749-AF85-28C587EFC3EB}" dt="2025-05-08T08:23:49.821" v="11113" actId="1076"/>
          <ac:picMkLst>
            <pc:docMk/>
            <pc:sldMk cId="3934326444" sldId="368"/>
            <ac:picMk id="8" creationId="{773C3447-5BA6-B285-B569-D627E1EC189E}"/>
          </ac:picMkLst>
        </pc:picChg>
        <pc:picChg chg="add mod">
          <ac:chgData name="Alessia Ceroni" userId="59238df8-040f-40e7-81e6-4838df61c6e5" providerId="ADAL" clId="{0BB3BAF5-22C2-D749-AF85-28C587EFC3EB}" dt="2025-05-08T08:23:47.305" v="11112" actId="1076"/>
          <ac:picMkLst>
            <pc:docMk/>
            <pc:sldMk cId="3934326444" sldId="368"/>
            <ac:picMk id="10" creationId="{13517766-3AEA-ACBC-E268-D4AAE3998182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8T08:13:49.364" v="10908" actId="20577"/>
        <pc:sldMkLst>
          <pc:docMk/>
          <pc:sldMk cId="1385956666" sldId="369"/>
        </pc:sldMkLst>
        <pc:spChg chg="mod">
          <ac:chgData name="Alessia Ceroni" userId="59238df8-040f-40e7-81e6-4838df61c6e5" providerId="ADAL" clId="{0BB3BAF5-22C2-D749-AF85-28C587EFC3EB}" dt="2025-05-08T08:13:49.364" v="10908" actId="20577"/>
          <ac:spMkLst>
            <pc:docMk/>
            <pc:sldMk cId="1385956666" sldId="369"/>
            <ac:spMk id="2" creationId="{D006F2A8-87B8-C848-4680-7C3ABCA1C1D2}"/>
          </ac:spMkLst>
        </pc:spChg>
        <pc:picChg chg="add del mod">
          <ac:chgData name="Alessia Ceroni" userId="59238df8-040f-40e7-81e6-4838df61c6e5" providerId="ADAL" clId="{0BB3BAF5-22C2-D749-AF85-28C587EFC3EB}" dt="2025-05-08T08:12:44.705" v="10708" actId="478"/>
          <ac:picMkLst>
            <pc:docMk/>
            <pc:sldMk cId="1385956666" sldId="369"/>
            <ac:picMk id="3" creationId="{B28AC44E-29C2-AFAF-3791-FDC375060EC6}"/>
          </ac:picMkLst>
        </pc:picChg>
        <pc:picChg chg="del">
          <ac:chgData name="Alessia Ceroni" userId="59238df8-040f-40e7-81e6-4838df61c6e5" providerId="ADAL" clId="{0BB3BAF5-22C2-D749-AF85-28C587EFC3EB}" dt="2025-05-08T07:55:12.254" v="10219" actId="478"/>
          <ac:picMkLst>
            <pc:docMk/>
            <pc:sldMk cId="1385956666" sldId="369"/>
            <ac:picMk id="6" creationId="{3F815050-E581-3C90-188D-7A7C1802441C}"/>
          </ac:picMkLst>
        </pc:picChg>
        <pc:picChg chg="del">
          <ac:chgData name="Alessia Ceroni" userId="59238df8-040f-40e7-81e6-4838df61c6e5" providerId="ADAL" clId="{0BB3BAF5-22C2-D749-AF85-28C587EFC3EB}" dt="2025-05-08T07:55:13.555" v="10220" actId="478"/>
          <ac:picMkLst>
            <pc:docMk/>
            <pc:sldMk cId="1385956666" sldId="369"/>
            <ac:picMk id="7" creationId="{817F3218-D871-CFE8-1B6C-1D0497842B82}"/>
          </ac:picMkLst>
        </pc:picChg>
        <pc:picChg chg="del">
          <ac:chgData name="Alessia Ceroni" userId="59238df8-040f-40e7-81e6-4838df61c6e5" providerId="ADAL" clId="{0BB3BAF5-22C2-D749-AF85-28C587EFC3EB}" dt="2025-05-08T07:55:24.378" v="10225" actId="478"/>
          <ac:picMkLst>
            <pc:docMk/>
            <pc:sldMk cId="1385956666" sldId="369"/>
            <ac:picMk id="8" creationId="{EABD3E7E-0A46-5217-08B5-060E099467AB}"/>
          </ac:picMkLst>
        </pc:picChg>
        <pc:picChg chg="add mod">
          <ac:chgData name="Alessia Ceroni" userId="59238df8-040f-40e7-81e6-4838df61c6e5" providerId="ADAL" clId="{0BB3BAF5-22C2-D749-AF85-28C587EFC3EB}" dt="2025-05-08T08:12:48.334" v="10709" actId="1076"/>
          <ac:picMkLst>
            <pc:docMk/>
            <pc:sldMk cId="1385956666" sldId="369"/>
            <ac:picMk id="9" creationId="{CDE870F6-C498-53AA-BF7F-DEB0CF7B9660}"/>
          </ac:picMkLst>
        </pc:picChg>
        <pc:picChg chg="add mod">
          <ac:chgData name="Alessia Ceroni" userId="59238df8-040f-40e7-81e6-4838df61c6e5" providerId="ADAL" clId="{0BB3BAF5-22C2-D749-AF85-28C587EFC3EB}" dt="2025-05-08T08:12:54.293" v="10718" actId="1037"/>
          <ac:picMkLst>
            <pc:docMk/>
            <pc:sldMk cId="1385956666" sldId="369"/>
            <ac:picMk id="10" creationId="{AC5F8D30-3CF1-F003-69D7-8E5CCE355308}"/>
          </ac:picMkLst>
        </pc:picChg>
        <pc:picChg chg="add mod">
          <ac:chgData name="Alessia Ceroni" userId="59238df8-040f-40e7-81e6-4838df61c6e5" providerId="ADAL" clId="{0BB3BAF5-22C2-D749-AF85-28C587EFC3EB}" dt="2025-05-08T08:12:58.068" v="10719" actId="1076"/>
          <ac:picMkLst>
            <pc:docMk/>
            <pc:sldMk cId="1385956666" sldId="369"/>
            <ac:picMk id="11" creationId="{A18C90BC-445E-5CDC-E349-8E2D93A6BF3F}"/>
          </ac:picMkLst>
        </pc:picChg>
        <pc:picChg chg="add mod">
          <ac:chgData name="Alessia Ceroni" userId="59238df8-040f-40e7-81e6-4838df61c6e5" providerId="ADAL" clId="{0BB3BAF5-22C2-D749-AF85-28C587EFC3EB}" dt="2025-05-08T08:13:00.716" v="10720" actId="1076"/>
          <ac:picMkLst>
            <pc:docMk/>
            <pc:sldMk cId="1385956666" sldId="369"/>
            <ac:picMk id="12" creationId="{B7CB8983-FC6B-E287-9B49-C34E7AF647CE}"/>
          </ac:picMkLst>
        </pc:picChg>
      </pc:sldChg>
      <pc:sldChg chg="addSp delSp modSp add mod">
        <pc:chgData name="Alessia Ceroni" userId="59238df8-040f-40e7-81e6-4838df61c6e5" providerId="ADAL" clId="{0BB3BAF5-22C2-D749-AF85-28C587EFC3EB}" dt="2025-05-08T08:09:10.415" v="10412" actId="20577"/>
        <pc:sldMkLst>
          <pc:docMk/>
          <pc:sldMk cId="1693128834" sldId="370"/>
        </pc:sldMkLst>
        <pc:spChg chg="mod">
          <ac:chgData name="Alessia Ceroni" userId="59238df8-040f-40e7-81e6-4838df61c6e5" providerId="ADAL" clId="{0BB3BAF5-22C2-D749-AF85-28C587EFC3EB}" dt="2025-05-08T08:05:53.431" v="10305" actId="20577"/>
          <ac:spMkLst>
            <pc:docMk/>
            <pc:sldMk cId="1693128834" sldId="370"/>
            <ac:spMk id="2" creationId="{74379072-84C6-14AE-708A-CF780CF5EE8F}"/>
          </ac:spMkLst>
        </pc:spChg>
        <pc:spChg chg="add mod">
          <ac:chgData name="Alessia Ceroni" userId="59238df8-040f-40e7-81e6-4838df61c6e5" providerId="ADAL" clId="{0BB3BAF5-22C2-D749-AF85-28C587EFC3EB}" dt="2025-05-08T08:08:41.014" v="10396" actId="1076"/>
          <ac:spMkLst>
            <pc:docMk/>
            <pc:sldMk cId="1693128834" sldId="370"/>
            <ac:spMk id="13" creationId="{C00E6863-8283-40B1-DD93-32B1801BF26B}"/>
          </ac:spMkLst>
        </pc:spChg>
        <pc:spChg chg="add mod">
          <ac:chgData name="Alessia Ceroni" userId="59238df8-040f-40e7-81e6-4838df61c6e5" providerId="ADAL" clId="{0BB3BAF5-22C2-D749-AF85-28C587EFC3EB}" dt="2025-05-08T08:09:10.415" v="10412" actId="20577"/>
          <ac:spMkLst>
            <pc:docMk/>
            <pc:sldMk cId="1693128834" sldId="370"/>
            <ac:spMk id="16" creationId="{AA88DBAE-BE64-A3A9-9BE0-729B80F73C4F}"/>
          </ac:spMkLst>
        </pc:spChg>
        <pc:picChg chg="mod">
          <ac:chgData name="Alessia Ceroni" userId="59238df8-040f-40e7-81e6-4838df61c6e5" providerId="ADAL" clId="{0BB3BAF5-22C2-D749-AF85-28C587EFC3EB}" dt="2025-05-08T08:05:59.432" v="10310" actId="14100"/>
          <ac:picMkLst>
            <pc:docMk/>
            <pc:sldMk cId="1693128834" sldId="370"/>
            <ac:picMk id="6" creationId="{BE930882-8962-A344-C117-94B88730C342}"/>
          </ac:picMkLst>
        </pc:picChg>
        <pc:picChg chg="mod">
          <ac:chgData name="Alessia Ceroni" userId="59238df8-040f-40e7-81e6-4838df61c6e5" providerId="ADAL" clId="{0BB3BAF5-22C2-D749-AF85-28C587EFC3EB}" dt="2025-05-08T08:06:03.433" v="10312" actId="14100"/>
          <ac:picMkLst>
            <pc:docMk/>
            <pc:sldMk cId="1693128834" sldId="370"/>
            <ac:picMk id="7" creationId="{3C1384FE-C1BE-9D4E-A769-0E5EFCFE345A}"/>
          </ac:picMkLst>
        </pc:picChg>
        <pc:picChg chg="del">
          <ac:chgData name="Alessia Ceroni" userId="59238df8-040f-40e7-81e6-4838df61c6e5" providerId="ADAL" clId="{0BB3BAF5-22C2-D749-AF85-28C587EFC3EB}" dt="2025-05-08T08:05:55.090" v="10306" actId="478"/>
          <ac:picMkLst>
            <pc:docMk/>
            <pc:sldMk cId="1693128834" sldId="370"/>
            <ac:picMk id="8" creationId="{6BEFA8D3-FE66-5EE0-A290-AFB5768E32F7}"/>
          </ac:picMkLst>
        </pc:picChg>
        <pc:picChg chg="del">
          <ac:chgData name="Alessia Ceroni" userId="59238df8-040f-40e7-81e6-4838df61c6e5" providerId="ADAL" clId="{0BB3BAF5-22C2-D749-AF85-28C587EFC3EB}" dt="2025-05-08T08:05:55.951" v="10307" actId="478"/>
          <ac:picMkLst>
            <pc:docMk/>
            <pc:sldMk cId="1693128834" sldId="370"/>
            <ac:picMk id="9" creationId="{3DFFEB58-DEDB-8643-0B7A-86A5C6D72273}"/>
          </ac:picMkLst>
        </pc:picChg>
        <pc:picChg chg="del">
          <ac:chgData name="Alessia Ceroni" userId="59238df8-040f-40e7-81e6-4838df61c6e5" providerId="ADAL" clId="{0BB3BAF5-22C2-D749-AF85-28C587EFC3EB}" dt="2025-05-08T08:05:56.701" v="10308" actId="478"/>
          <ac:picMkLst>
            <pc:docMk/>
            <pc:sldMk cId="1693128834" sldId="370"/>
            <ac:picMk id="10" creationId="{11F8D5FF-EC59-95C1-019A-635352015D65}"/>
          </ac:picMkLst>
        </pc:picChg>
        <pc:picChg chg="del">
          <ac:chgData name="Alessia Ceroni" userId="59238df8-040f-40e7-81e6-4838df61c6e5" providerId="ADAL" clId="{0BB3BAF5-22C2-D749-AF85-28C587EFC3EB}" dt="2025-05-08T08:05:57.567" v="10309" actId="478"/>
          <ac:picMkLst>
            <pc:docMk/>
            <pc:sldMk cId="1693128834" sldId="370"/>
            <ac:picMk id="11" creationId="{4095904B-969E-CA4C-E888-E7FE5A92FD87}"/>
          </ac:picMkLst>
        </pc:picChg>
        <pc:cxnChg chg="add mod">
          <ac:chgData name="Alessia Ceroni" userId="59238df8-040f-40e7-81e6-4838df61c6e5" providerId="ADAL" clId="{0BB3BAF5-22C2-D749-AF85-28C587EFC3EB}" dt="2025-05-08T08:08:26.282" v="10389" actId="14100"/>
          <ac:cxnSpMkLst>
            <pc:docMk/>
            <pc:sldMk cId="1693128834" sldId="370"/>
            <ac:cxnSpMk id="12" creationId="{50AB658C-348A-1C0B-E2E2-D0B9921A510A}"/>
          </ac:cxnSpMkLst>
        </pc:cxnChg>
        <pc:cxnChg chg="add mod">
          <ac:chgData name="Alessia Ceroni" userId="59238df8-040f-40e7-81e6-4838df61c6e5" providerId="ADAL" clId="{0BB3BAF5-22C2-D749-AF85-28C587EFC3EB}" dt="2025-05-08T08:08:56.801" v="10401" actId="14100"/>
          <ac:cxnSpMkLst>
            <pc:docMk/>
            <pc:sldMk cId="1693128834" sldId="370"/>
            <ac:cxnSpMk id="15" creationId="{820D37E1-D6FE-E2EA-FD59-90FFD9664301}"/>
          </ac:cxnSpMkLst>
        </pc:cxnChg>
      </pc:sldChg>
      <pc:sldChg chg="delSp modSp add mod">
        <pc:chgData name="Alessia Ceroni" userId="59238df8-040f-40e7-81e6-4838df61c6e5" providerId="ADAL" clId="{0BB3BAF5-22C2-D749-AF85-28C587EFC3EB}" dt="2025-05-08T08:11:58.886" v="10707" actId="20577"/>
        <pc:sldMkLst>
          <pc:docMk/>
          <pc:sldMk cId="1898171778" sldId="371"/>
        </pc:sldMkLst>
        <pc:spChg chg="mod">
          <ac:chgData name="Alessia Ceroni" userId="59238df8-040f-40e7-81e6-4838df61c6e5" providerId="ADAL" clId="{0BB3BAF5-22C2-D749-AF85-28C587EFC3EB}" dt="2025-05-08T08:11:58.886" v="10707" actId="20577"/>
          <ac:spMkLst>
            <pc:docMk/>
            <pc:sldMk cId="1898171778" sldId="371"/>
            <ac:spMk id="2" creationId="{4F1E04C8-00AA-3581-65A1-983B284530EA}"/>
          </ac:spMkLst>
        </pc:spChg>
        <pc:spChg chg="del">
          <ac:chgData name="Alessia Ceroni" userId="59238df8-040f-40e7-81e6-4838df61c6e5" providerId="ADAL" clId="{0BB3BAF5-22C2-D749-AF85-28C587EFC3EB}" dt="2025-05-08T08:09:35.753" v="10418" actId="478"/>
          <ac:spMkLst>
            <pc:docMk/>
            <pc:sldMk cId="1898171778" sldId="371"/>
            <ac:spMk id="13" creationId="{8B2E6429-230C-CBB4-55B0-C65DC60CA185}"/>
          </ac:spMkLst>
        </pc:spChg>
        <pc:spChg chg="del">
          <ac:chgData name="Alessia Ceroni" userId="59238df8-040f-40e7-81e6-4838df61c6e5" providerId="ADAL" clId="{0BB3BAF5-22C2-D749-AF85-28C587EFC3EB}" dt="2025-05-08T08:09:35.753" v="10418" actId="478"/>
          <ac:spMkLst>
            <pc:docMk/>
            <pc:sldMk cId="1898171778" sldId="371"/>
            <ac:spMk id="16" creationId="{D941AF47-1CA1-81BE-7ECE-1ADCE1506AA4}"/>
          </ac:spMkLst>
        </pc:spChg>
        <pc:picChg chg="del">
          <ac:chgData name="Alessia Ceroni" userId="59238df8-040f-40e7-81e6-4838df61c6e5" providerId="ADAL" clId="{0BB3BAF5-22C2-D749-AF85-28C587EFC3EB}" dt="2025-05-08T08:09:28.708" v="10414" actId="478"/>
          <ac:picMkLst>
            <pc:docMk/>
            <pc:sldMk cId="1898171778" sldId="371"/>
            <ac:picMk id="6" creationId="{D294D0BB-67D6-CCE6-AE00-6ABE0B95152F}"/>
          </ac:picMkLst>
        </pc:picChg>
        <pc:picChg chg="del">
          <ac:chgData name="Alessia Ceroni" userId="59238df8-040f-40e7-81e6-4838df61c6e5" providerId="ADAL" clId="{0BB3BAF5-22C2-D749-AF85-28C587EFC3EB}" dt="2025-05-08T08:09:29.541" v="10415" actId="478"/>
          <ac:picMkLst>
            <pc:docMk/>
            <pc:sldMk cId="1898171778" sldId="371"/>
            <ac:picMk id="7" creationId="{ED98C9CE-DABB-A61F-04BA-531CB7C0B2CF}"/>
          </ac:picMkLst>
        </pc:picChg>
        <pc:cxnChg chg="del">
          <ac:chgData name="Alessia Ceroni" userId="59238df8-040f-40e7-81e6-4838df61c6e5" providerId="ADAL" clId="{0BB3BAF5-22C2-D749-AF85-28C587EFC3EB}" dt="2025-05-08T08:09:35.753" v="10418" actId="478"/>
          <ac:cxnSpMkLst>
            <pc:docMk/>
            <pc:sldMk cId="1898171778" sldId="371"/>
            <ac:cxnSpMk id="12" creationId="{9D8B76E8-35AC-8823-D8CA-A5EB7BF9F3E1}"/>
          </ac:cxnSpMkLst>
        </pc:cxnChg>
        <pc:cxnChg chg="del">
          <ac:chgData name="Alessia Ceroni" userId="59238df8-040f-40e7-81e6-4838df61c6e5" providerId="ADAL" clId="{0BB3BAF5-22C2-D749-AF85-28C587EFC3EB}" dt="2025-05-08T08:09:35.753" v="10418" actId="478"/>
          <ac:cxnSpMkLst>
            <pc:docMk/>
            <pc:sldMk cId="1898171778" sldId="371"/>
            <ac:cxnSpMk id="15" creationId="{417D38CD-8D88-0A71-BE09-C5F8630DB9B7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N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N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N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lessia Ceroni </a:t>
            </a:r>
          </a:p>
          <a:p>
            <a:r>
              <a:rPr lang="en-US" dirty="0"/>
              <a:t>8/5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ampler non-linearity calibra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184769DA-522C-B30A-B77C-6E8F94115E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268844"/>
            <a:ext cx="11520000" cy="6112908"/>
          </a:xfrm>
        </p:spPr>
        <p:txBody>
          <a:bodyPr/>
          <a:lstStyle/>
          <a:p>
            <a:pPr marL="0" indent="0">
              <a:buNone/>
            </a:pPr>
            <a:r>
              <a:rPr lang="it-IT" u="sng" dirty="0"/>
              <a:t>2-tones test </a:t>
            </a:r>
            <a:br>
              <a:rPr lang="it-IT" u="sng" dirty="0"/>
            </a:br>
            <a:endParaRPr lang="it-IT" sz="1000" dirty="0"/>
          </a:p>
          <a:p>
            <a:pPr marL="0" indent="0">
              <a:buNone/>
            </a:pPr>
            <a:r>
              <a:rPr lang="it-IT" dirty="0"/>
              <a:t>P = 21 M = 33 (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= 693)						 P = 7 M = 33 (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= 231)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P = 21 M = 7 (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= 147)						 P = 7 M = 7 (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= 49)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968ED754-34D6-E4C8-57D4-B033C12650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D0CB1BB-3044-7A3A-EED2-91A80DD249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EC4BEA8A-1A0A-D469-F3BC-8E438649783F}"/>
              </a:ext>
            </a:extLst>
          </p:cNvPr>
          <p:cNvSpPr/>
          <p:nvPr/>
        </p:nvSpPr>
        <p:spPr bwMode="auto">
          <a:xfrm>
            <a:off x="9871306" y="5125577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Ain</a:t>
            </a:r>
            <a:r>
              <a:rPr lang="it-IT" sz="1600" baseline="-25000" dirty="0">
                <a:solidFill>
                  <a:schemeClr val="tx1"/>
                </a:solidFill>
              </a:rPr>
              <a:t>2</a:t>
            </a:r>
            <a:r>
              <a:rPr lang="it-IT" sz="1600" dirty="0">
                <a:solidFill>
                  <a:schemeClr val="tx1"/>
                </a:solidFill>
              </a:rPr>
              <a:t> = 0.45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C28D332D-10DE-A4AD-4458-EA821908C21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148" b="26908"/>
          <a:stretch/>
        </p:blipFill>
        <p:spPr>
          <a:xfrm>
            <a:off x="334800" y="4164598"/>
            <a:ext cx="3628697" cy="2359243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4290EED4-8F93-8330-13F8-ED944C94A52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6905" b="26836"/>
          <a:stretch/>
        </p:blipFill>
        <p:spPr>
          <a:xfrm>
            <a:off x="334800" y="1267250"/>
            <a:ext cx="3603909" cy="2359243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E59F8F2C-7133-8573-D305-C9DA446902C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7135" b="26602"/>
          <a:stretch/>
        </p:blipFill>
        <p:spPr>
          <a:xfrm>
            <a:off x="5710991" y="4164598"/>
            <a:ext cx="3603712" cy="2359243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5F070023-363B-BEE9-D804-374A7267609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7140" b="26667"/>
          <a:stretch/>
        </p:blipFill>
        <p:spPr>
          <a:xfrm>
            <a:off x="5966487" y="1267249"/>
            <a:ext cx="3609054" cy="235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18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E08177-E59E-B617-8046-7AB60F063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61BFD7F-9976-F12A-AB79-426941838A0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268844"/>
            <a:ext cx="11520000" cy="6112908"/>
          </a:xfrm>
        </p:spPr>
        <p:txBody>
          <a:bodyPr/>
          <a:lstStyle/>
          <a:p>
            <a:pPr marL="0" indent="0">
              <a:buNone/>
            </a:pPr>
            <a:r>
              <a:rPr lang="it-IT" u="sng" dirty="0"/>
              <a:t>2-tones test </a:t>
            </a:r>
            <a:br>
              <a:rPr lang="it-IT" u="sng" dirty="0"/>
            </a:br>
            <a:endParaRPr lang="it-IT" sz="1000" dirty="0"/>
          </a:p>
          <a:p>
            <a:pPr marL="0" indent="0">
              <a:buNone/>
            </a:pPr>
            <a:r>
              <a:rPr lang="it-IT" dirty="0" err="1"/>
              <a:t>N</a:t>
            </a:r>
            <a:r>
              <a:rPr lang="it-IT" dirty="0"/>
              <a:t> = 7 M = 33 (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= 231)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8F42CBF-64A5-5FF8-D71B-E5A854D57B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A2B2232-5E59-D958-526D-A007ADFC7F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6BCDB942-F260-3672-D285-94E6FE51BB1D}"/>
              </a:ext>
            </a:extLst>
          </p:cNvPr>
          <p:cNvSpPr/>
          <p:nvPr/>
        </p:nvSpPr>
        <p:spPr bwMode="auto">
          <a:xfrm>
            <a:off x="9469791" y="1035491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Ain</a:t>
            </a:r>
            <a:r>
              <a:rPr lang="it-IT" sz="1600" baseline="-25000" dirty="0">
                <a:solidFill>
                  <a:schemeClr val="tx1"/>
                </a:solidFill>
              </a:rPr>
              <a:t>2</a:t>
            </a:r>
            <a:r>
              <a:rPr lang="it-IT" sz="1600" dirty="0">
                <a:solidFill>
                  <a:schemeClr val="tx1"/>
                </a:solidFill>
              </a:rPr>
              <a:t> = 0.45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5C32E29F-58F1-4285-9C31-41817579013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140" b="26667"/>
          <a:stretch/>
        </p:blipFill>
        <p:spPr>
          <a:xfrm>
            <a:off x="1602655" y="1489806"/>
            <a:ext cx="7483459" cy="489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5632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FE50A5A-9D65-D2D7-4291-7F1345BF46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 err="1"/>
              <a:t>Even</a:t>
            </a:r>
            <a:r>
              <a:rPr lang="it-IT" dirty="0"/>
              <a:t> with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polynomial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still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to </a:t>
            </a:r>
            <a:r>
              <a:rPr lang="it-IT" dirty="0" err="1"/>
              <a:t>implement</a:t>
            </a:r>
            <a:r>
              <a:rPr lang="it-IT" dirty="0"/>
              <a:t> some strategies to reduce 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due to the long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needed</a:t>
            </a:r>
            <a:r>
              <a:rPr lang="it-IT" dirty="0"/>
              <a:t> to </a:t>
            </a:r>
            <a:r>
              <a:rPr lang="it-IT" dirty="0" err="1"/>
              <a:t>effectively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an </a:t>
            </a:r>
            <a:r>
              <a:rPr lang="it-IT" dirty="0" err="1"/>
              <a:t>enhancement</a:t>
            </a:r>
            <a:r>
              <a:rPr lang="it-IT" dirty="0"/>
              <a:t> of the SFDR/THD </a:t>
            </a:r>
          </a:p>
          <a:p>
            <a:pPr marL="0" indent="0">
              <a:buNone/>
            </a:pPr>
            <a:endParaRPr lang="it-IT" sz="1000" u="sng" dirty="0"/>
          </a:p>
          <a:p>
            <a:pPr marL="0" indent="0">
              <a:buNone/>
            </a:pPr>
            <a:r>
              <a:rPr lang="it-IT" u="sng" dirty="0"/>
              <a:t>1</a:t>
            </a:r>
            <a:r>
              <a:rPr lang="it-IT" u="sng" baseline="30000" dirty="0"/>
              <a:t>st</a:t>
            </a:r>
            <a:r>
              <a:rPr lang="it-IT" u="sng" dirty="0"/>
              <a:t> strategy</a:t>
            </a:r>
            <a:r>
              <a:rPr lang="it-IT" dirty="0"/>
              <a:t> Use a </a:t>
            </a:r>
            <a:r>
              <a:rPr lang="it-IT" dirty="0" err="1"/>
              <a:t>simpler</a:t>
            </a:r>
            <a:r>
              <a:rPr lang="it-IT" dirty="0"/>
              <a:t> model </a:t>
            </a:r>
            <a:r>
              <a:rPr lang="it-IT" dirty="0" err="1"/>
              <a:t>instead</a:t>
            </a:r>
            <a:r>
              <a:rPr lang="it-IT" dirty="0"/>
              <a:t> of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polynomials</a:t>
            </a:r>
            <a:endParaRPr lang="it-IT" u="sng" dirty="0"/>
          </a:p>
          <a:p>
            <a:pPr>
              <a:buFontTx/>
              <a:buChar char="-"/>
            </a:pPr>
            <a:r>
              <a:rPr lang="it-IT" dirty="0"/>
              <a:t>Wiener model</a:t>
            </a:r>
          </a:p>
          <a:p>
            <a:pPr lvl="1">
              <a:buFontTx/>
              <a:buChar char="-"/>
            </a:pPr>
            <a:r>
              <a:rPr lang="it-IT" dirty="0"/>
              <a:t>Linear filter to take </a:t>
            </a:r>
            <a:r>
              <a:rPr lang="it-IT" dirty="0" err="1"/>
              <a:t>into</a:t>
            </a:r>
            <a:r>
              <a:rPr lang="it-IT" dirty="0"/>
              <a:t> account the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effects</a:t>
            </a:r>
            <a:r>
              <a:rPr lang="it-IT" dirty="0"/>
              <a:t> of the system </a:t>
            </a:r>
            <a:r>
              <a:rPr lang="it-IT" dirty="0" err="1"/>
              <a:t>followed</a:t>
            </a:r>
            <a:r>
              <a:rPr lang="it-IT" dirty="0"/>
              <a:t> by a </a:t>
            </a:r>
            <a:r>
              <a:rPr lang="it-IT" dirty="0" err="1"/>
              <a:t>memory-less</a:t>
            </a:r>
            <a:r>
              <a:rPr lang="it-IT" dirty="0"/>
              <a:t> non-linear filter</a:t>
            </a:r>
            <a:br>
              <a:rPr lang="it-IT" dirty="0"/>
            </a:br>
            <a:endParaRPr lang="it-IT" sz="800" dirty="0"/>
          </a:p>
          <a:p>
            <a:pPr lvl="1">
              <a:buFontTx/>
              <a:buChar char="-"/>
            </a:pPr>
            <a:r>
              <a:rPr lang="it-IT" dirty="0"/>
              <a:t> </a:t>
            </a:r>
          </a:p>
          <a:p>
            <a:pPr>
              <a:buFontTx/>
              <a:buChar char="-"/>
            </a:pPr>
            <a:r>
              <a:rPr lang="it-IT" dirty="0"/>
              <a:t>Hammerstein model</a:t>
            </a:r>
          </a:p>
          <a:p>
            <a:pPr lvl="1">
              <a:buFontTx/>
              <a:buChar char="-"/>
            </a:pPr>
            <a:r>
              <a:rPr lang="it-IT" dirty="0"/>
              <a:t>Memory-</a:t>
            </a:r>
            <a:r>
              <a:rPr lang="it-IT" dirty="0" err="1"/>
              <a:t>less</a:t>
            </a:r>
            <a:r>
              <a:rPr lang="it-IT" dirty="0"/>
              <a:t> non-linear filter </a:t>
            </a:r>
            <a:r>
              <a:rPr lang="it-IT" dirty="0" err="1"/>
              <a:t>followed</a:t>
            </a:r>
            <a:r>
              <a:rPr lang="it-IT" dirty="0"/>
              <a:t> by a linear filter to take </a:t>
            </a:r>
            <a:r>
              <a:rPr lang="it-IT" dirty="0" err="1"/>
              <a:t>into</a:t>
            </a:r>
            <a:r>
              <a:rPr lang="it-IT" dirty="0"/>
              <a:t> account the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effects</a:t>
            </a:r>
            <a:r>
              <a:rPr lang="it-IT" dirty="0"/>
              <a:t> of the system</a:t>
            </a:r>
            <a:br>
              <a:rPr lang="it-IT" dirty="0"/>
            </a:br>
            <a:endParaRPr lang="it-IT" sz="1000" dirty="0"/>
          </a:p>
          <a:p>
            <a:pPr lvl="1">
              <a:buFontTx/>
              <a:buChar char="-"/>
            </a:pPr>
            <a:r>
              <a:rPr lang="it-IT" dirty="0"/>
              <a:t> </a:t>
            </a:r>
          </a:p>
          <a:p>
            <a:pPr marL="252000" lvl="1" indent="0">
              <a:buNone/>
            </a:pPr>
            <a:endParaRPr lang="it-IT" dirty="0"/>
          </a:p>
          <a:p>
            <a:pPr marL="252000" lvl="1" indent="0">
              <a:buNone/>
            </a:pPr>
            <a:r>
              <a:rPr lang="it-IT" dirty="0"/>
              <a:t>In </a:t>
            </a:r>
            <a:r>
              <a:rPr lang="it-IT" dirty="0" err="1"/>
              <a:t>both</a:t>
            </a:r>
            <a:r>
              <a:rPr lang="it-IT" dirty="0"/>
              <a:t> </a:t>
            </a:r>
            <a:r>
              <a:rPr lang="it-IT" dirty="0" err="1"/>
              <a:t>cases</a:t>
            </a:r>
            <a:r>
              <a:rPr lang="it-IT" dirty="0"/>
              <a:t>, the </a:t>
            </a:r>
            <a:r>
              <a:rPr lang="it-IT" dirty="0" err="1"/>
              <a:t>parameters</a:t>
            </a:r>
            <a:r>
              <a:rPr lang="it-IT" dirty="0"/>
              <a:t> of the model are </a:t>
            </a:r>
            <a:r>
              <a:rPr lang="it-IT" dirty="0" err="1"/>
              <a:t>only</a:t>
            </a:r>
            <a:r>
              <a:rPr lang="it-IT" dirty="0"/>
              <a:t> (</a:t>
            </a:r>
            <a:r>
              <a:rPr lang="it-IT" dirty="0" err="1"/>
              <a:t>p</a:t>
            </a:r>
            <a:r>
              <a:rPr lang="it-IT" dirty="0"/>
              <a:t> + m).</a:t>
            </a:r>
          </a:p>
          <a:p>
            <a:pPr marL="252000" lvl="1" indent="0">
              <a:buNone/>
            </a:pPr>
            <a:endParaRPr lang="it-IT" dirty="0"/>
          </a:p>
          <a:p>
            <a:pPr marL="252000" lvl="1" indent="0">
              <a:buNone/>
            </a:pPr>
            <a:r>
              <a:rPr lang="it-IT" dirty="0" err="1"/>
              <a:t>Unfortunately</a:t>
            </a:r>
            <a:r>
              <a:rPr lang="it-IT" dirty="0"/>
              <a:t>, </a:t>
            </a:r>
            <a:r>
              <a:rPr lang="it-IT" dirty="0" err="1"/>
              <a:t>both</a:t>
            </a:r>
            <a:r>
              <a:rPr lang="it-IT" dirty="0"/>
              <a:t> models </a:t>
            </a:r>
            <a:r>
              <a:rPr lang="it-IT" dirty="0" err="1"/>
              <a:t>gave</a:t>
            </a:r>
            <a:r>
              <a:rPr lang="it-IT" dirty="0"/>
              <a:t> </a:t>
            </a:r>
            <a:r>
              <a:rPr lang="it-IT" b="1" dirty="0" err="1"/>
              <a:t>delusionals</a:t>
            </a:r>
            <a:r>
              <a:rPr lang="it-IT" dirty="0"/>
              <a:t> </a:t>
            </a:r>
            <a:r>
              <a:rPr lang="it-IT" dirty="0" err="1"/>
              <a:t>results</a:t>
            </a:r>
            <a:r>
              <a:rPr lang="it-IT" dirty="0"/>
              <a:t>, </a:t>
            </a:r>
            <a:r>
              <a:rPr lang="it-IT" dirty="0" err="1"/>
              <a:t>even</a:t>
            </a:r>
            <a:r>
              <a:rPr lang="it-IT" dirty="0"/>
              <a:t> with large </a:t>
            </a:r>
            <a:r>
              <a:rPr lang="it-IT" dirty="0" err="1"/>
              <a:t>polynomial</a:t>
            </a:r>
            <a:r>
              <a:rPr lang="it-IT" dirty="0"/>
              <a:t> </a:t>
            </a:r>
            <a:r>
              <a:rPr lang="it-IT" dirty="0" err="1"/>
              <a:t>order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and </a:t>
            </a:r>
            <a:r>
              <a:rPr lang="it-IT" dirty="0" err="1"/>
              <a:t>memory</a:t>
            </a:r>
            <a:r>
              <a:rPr lang="it-IT" dirty="0"/>
              <a:t> m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70CBB526-9B61-4D6F-3F5B-E1CB65FFB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FA0E3E43-E54C-5951-F896-3C9C1A8923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7CAE79B-ECBA-B336-6A92-4013E32ED7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74CCA3B-6DFA-659C-B724-08378213BD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0182" b="5655"/>
          <a:stretch/>
        </p:blipFill>
        <p:spPr>
          <a:xfrm>
            <a:off x="800100" y="3222074"/>
            <a:ext cx="3232638" cy="604597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B1881912-463B-04CD-D5A7-B98ABAE6092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193" b="8729"/>
          <a:stretch/>
        </p:blipFill>
        <p:spPr>
          <a:xfrm>
            <a:off x="764931" y="4484259"/>
            <a:ext cx="3025384" cy="60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1935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364A2503-37EF-6787-7BAD-1E875C7BAF7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2</a:t>
            </a:r>
            <a:r>
              <a:rPr lang="it-IT" u="sng" baseline="30000" dirty="0"/>
              <a:t>nd</a:t>
            </a:r>
            <a:r>
              <a:rPr lang="it-IT" u="sng" dirty="0"/>
              <a:t> strategy</a:t>
            </a:r>
          </a:p>
          <a:p>
            <a:pPr>
              <a:buFontTx/>
              <a:buChar char="-"/>
            </a:pPr>
            <a:r>
              <a:rPr lang="it-IT" dirty="0" err="1"/>
              <a:t>Consider</a:t>
            </a:r>
            <a:r>
              <a:rPr lang="it-IT" dirty="0"/>
              <a:t> </a:t>
            </a:r>
            <a:r>
              <a:rPr lang="it-IT" dirty="0" err="1"/>
              <a:t>only</a:t>
            </a:r>
            <a:r>
              <a:rPr lang="it-IT" dirty="0"/>
              <a:t> some </a:t>
            </a:r>
            <a:r>
              <a:rPr lang="it-IT" dirty="0" err="1"/>
              <a:t>orders</a:t>
            </a:r>
            <a:r>
              <a:rPr lang="it-IT" dirty="0"/>
              <a:t> of the </a:t>
            </a:r>
            <a:r>
              <a:rPr lang="it-IT" dirty="0" err="1"/>
              <a:t>polynomials</a:t>
            </a:r>
            <a:r>
              <a:rPr lang="it-IT" dirty="0"/>
              <a:t> (</a:t>
            </a:r>
            <a:r>
              <a:rPr lang="it-IT" dirty="0" err="1"/>
              <a:t>potentially</a:t>
            </a:r>
            <a:r>
              <a:rPr lang="it-IT" dirty="0"/>
              <a:t> the </a:t>
            </a:r>
            <a:r>
              <a:rPr lang="it-IT" dirty="0" err="1"/>
              <a:t>orders</a:t>
            </a:r>
            <a:r>
              <a:rPr lang="it-IT" dirty="0"/>
              <a:t> </a:t>
            </a:r>
            <a:r>
              <a:rPr lang="it-IT" dirty="0" err="1"/>
              <a:t>considered</a:t>
            </a:r>
            <a:r>
              <a:rPr lang="it-IT" dirty="0"/>
              <a:t> for the </a:t>
            </a:r>
            <a:r>
              <a:rPr lang="it-IT" dirty="0" err="1"/>
              <a:t>current</a:t>
            </a:r>
            <a:r>
              <a:rPr lang="it-IT" dirty="0"/>
              <a:t> sample can be </a:t>
            </a:r>
            <a:r>
              <a:rPr lang="it-IT" dirty="0" err="1"/>
              <a:t>different</a:t>
            </a:r>
            <a:r>
              <a:rPr lang="it-IT" dirty="0"/>
              <a:t> with </a:t>
            </a:r>
            <a:r>
              <a:rPr lang="it-IT" dirty="0" err="1"/>
              <a:t>respect</a:t>
            </a:r>
            <a:r>
              <a:rPr lang="it-IT" dirty="0"/>
              <a:t> to the </a:t>
            </a:r>
            <a:r>
              <a:rPr lang="it-IT" dirty="0" err="1"/>
              <a:t>ones</a:t>
            </a:r>
            <a:r>
              <a:rPr lang="it-IT" dirty="0"/>
              <a:t> </a:t>
            </a:r>
            <a:r>
              <a:rPr lang="it-IT" dirty="0" err="1"/>
              <a:t>considered</a:t>
            </a:r>
            <a:r>
              <a:rPr lang="it-IT" dirty="0"/>
              <a:t> for the </a:t>
            </a:r>
            <a:r>
              <a:rPr lang="it-IT" dirty="0" err="1"/>
              <a:t>past</a:t>
            </a:r>
            <a:r>
              <a:rPr lang="it-IT" dirty="0"/>
              <a:t> samples) and some samples of the </a:t>
            </a:r>
            <a:r>
              <a:rPr lang="it-IT" dirty="0" err="1"/>
              <a:t>selected</a:t>
            </a:r>
            <a:r>
              <a:rPr lang="it-IT" dirty="0"/>
              <a:t> </a:t>
            </a:r>
            <a:r>
              <a:rPr lang="it-IT" dirty="0" err="1"/>
              <a:t>memory</a:t>
            </a:r>
            <a:endParaRPr lang="it-IT" dirty="0"/>
          </a:p>
          <a:p>
            <a:pPr>
              <a:buFontTx/>
              <a:buChar char="-"/>
            </a:pPr>
            <a:r>
              <a:rPr lang="it-IT" dirty="0"/>
              <a:t>Best </a:t>
            </a:r>
            <a:r>
              <a:rPr lang="it-IT" dirty="0" err="1"/>
              <a:t>results</a:t>
            </a:r>
            <a:r>
              <a:rPr lang="it-IT" dirty="0"/>
              <a:t> </a:t>
            </a:r>
          </a:p>
          <a:p>
            <a:pPr marL="0" indent="0">
              <a:buNone/>
            </a:pPr>
            <a:r>
              <a:rPr lang="it-IT" dirty="0"/>
              <a:t> 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6831BF99-B97C-C5FC-2992-581BBE397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C445121-2107-E6D0-AF7E-F43AF1B377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BA978C1-94F9-55BE-1BD3-F59BAB3A0B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E0539745-13EC-CBC2-4DA8-1A361EECE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210907"/>
              </p:ext>
            </p:extLst>
          </p:nvPr>
        </p:nvGraphicFramePr>
        <p:xfrm>
          <a:off x="93786" y="3237951"/>
          <a:ext cx="11992706" cy="20269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188676">
                  <a:extLst>
                    <a:ext uri="{9D8B030D-6E8A-4147-A177-3AD203B41FA5}">
                      <a16:colId xmlns:a16="http://schemas.microsoft.com/office/drawing/2014/main" val="2808374183"/>
                    </a:ext>
                  </a:extLst>
                </a:gridCol>
                <a:gridCol w="1078523">
                  <a:extLst>
                    <a:ext uri="{9D8B030D-6E8A-4147-A177-3AD203B41FA5}">
                      <a16:colId xmlns:a16="http://schemas.microsoft.com/office/drawing/2014/main" val="3177582475"/>
                    </a:ext>
                  </a:extLst>
                </a:gridCol>
                <a:gridCol w="1235143">
                  <a:extLst>
                    <a:ext uri="{9D8B030D-6E8A-4147-A177-3AD203B41FA5}">
                      <a16:colId xmlns:a16="http://schemas.microsoft.com/office/drawing/2014/main" val="2127434180"/>
                    </a:ext>
                  </a:extLst>
                </a:gridCol>
                <a:gridCol w="2059041">
                  <a:extLst>
                    <a:ext uri="{9D8B030D-6E8A-4147-A177-3AD203B41FA5}">
                      <a16:colId xmlns:a16="http://schemas.microsoft.com/office/drawing/2014/main" val="44138818"/>
                    </a:ext>
                  </a:extLst>
                </a:gridCol>
                <a:gridCol w="1582616">
                  <a:extLst>
                    <a:ext uri="{9D8B030D-6E8A-4147-A177-3AD203B41FA5}">
                      <a16:colId xmlns:a16="http://schemas.microsoft.com/office/drawing/2014/main" val="2730932822"/>
                    </a:ext>
                  </a:extLst>
                </a:gridCol>
                <a:gridCol w="1233210">
                  <a:extLst>
                    <a:ext uri="{9D8B030D-6E8A-4147-A177-3AD203B41FA5}">
                      <a16:colId xmlns:a16="http://schemas.microsoft.com/office/drawing/2014/main" val="3721856957"/>
                    </a:ext>
                  </a:extLst>
                </a:gridCol>
                <a:gridCol w="1615497">
                  <a:extLst>
                    <a:ext uri="{9D8B030D-6E8A-4147-A177-3AD203B41FA5}">
                      <a16:colId xmlns:a16="http://schemas.microsoft.com/office/drawing/2014/main" val="2201406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lang="it-IT" b="0" baseline="-25000" dirty="0">
                          <a:solidFill>
                            <a:schemeClr val="tx1"/>
                          </a:solidFill>
                        </a:rPr>
                        <a:t>CURR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lang="it-IT" b="0" baseline="-25000" dirty="0">
                          <a:solidFill>
                            <a:schemeClr val="tx1"/>
                          </a:solidFill>
                        </a:rPr>
                        <a:t>PREVIOU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SFD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TH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N</a:t>
                      </a:r>
                      <a:r>
                        <a:rPr lang="it-IT" b="0" baseline="-25000" dirty="0">
                          <a:solidFill>
                            <a:schemeClr val="tx1"/>
                          </a:solidFill>
                        </a:rPr>
                        <a:t>COEF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3650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/>
                        <a:t>fin</a:t>
                      </a:r>
                      <a:r>
                        <a:rPr lang="it-IT" baseline="-25000" dirty="0"/>
                        <a:t>1</a:t>
                      </a:r>
                      <a:r>
                        <a:rPr lang="it-IT" dirty="0"/>
                        <a:t> = 200MHz, fin</a:t>
                      </a:r>
                      <a:r>
                        <a:rPr lang="it-IT" baseline="-25000" dirty="0"/>
                        <a:t>2</a:t>
                      </a:r>
                      <a:r>
                        <a:rPr lang="it-IT" dirty="0"/>
                        <a:t> = 210MHz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1</a:t>
                      </a:r>
                      <a:br>
                        <a:rPr lang="it-IT" dirty="0"/>
                      </a:br>
                      <a:r>
                        <a:rPr lang="it-IT" sz="1400" dirty="0"/>
                        <a:t>(</a:t>
                      </a:r>
                      <a:r>
                        <a:rPr lang="it-IT" sz="1400" dirty="0" err="1"/>
                        <a:t>odd</a:t>
                      </a:r>
                      <a:r>
                        <a:rPr lang="it-IT" sz="1400" dirty="0"/>
                        <a:t> </a:t>
                      </a:r>
                      <a:r>
                        <a:rPr lang="it-IT" sz="1400" dirty="0" err="1"/>
                        <a:t>only</a:t>
                      </a:r>
                      <a:r>
                        <a:rPr lang="it-IT" sz="1400" dirty="0"/>
                        <a:t>)</a:t>
                      </a:r>
                      <a:endParaRPr lang="it-IT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 &amp; [6:10]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 &amp; [4:7] &amp; [9:12] &amp; [15:17] &amp; [20:22] &amp; [25:27]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83.7</a:t>
                      </a:r>
                      <a:r>
                        <a:rPr lang="it-IT" dirty="0">
                          <a:sym typeface="Wingdings" pitchFamily="2" charset="2"/>
                        </a:rPr>
                        <a:t>86.3dB</a:t>
                      </a:r>
                      <a:endParaRPr lang="it-IT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19 </a:t>
                      </a:r>
                      <a:r>
                        <a:rPr lang="it-IT" b="1" dirty="0"/>
                        <a:t>(-48.5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17756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/>
                        <a:t>fin</a:t>
                      </a:r>
                      <a:r>
                        <a:rPr lang="it-IT" baseline="-25000" dirty="0"/>
                        <a:t>1</a:t>
                      </a:r>
                      <a:r>
                        <a:rPr lang="it-IT" dirty="0"/>
                        <a:t> = 800MHz, fin</a:t>
                      </a:r>
                      <a:r>
                        <a:rPr lang="it-IT" baseline="-25000" dirty="0"/>
                        <a:t>2</a:t>
                      </a:r>
                      <a:r>
                        <a:rPr lang="it-IT" dirty="0"/>
                        <a:t> = 810MHz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1</a:t>
                      </a:r>
                      <a:r>
                        <a:rPr lang="it-IT" dirty="0">
                          <a:sym typeface="Wingdings" pitchFamily="2" charset="2"/>
                        </a:rPr>
                        <a:t></a:t>
                      </a:r>
                      <a:r>
                        <a:rPr lang="it-IT" dirty="0"/>
                        <a:t>82.7d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0 </a:t>
                      </a:r>
                      <a:r>
                        <a:rPr lang="it-IT" b="1" dirty="0"/>
                        <a:t>(-69.7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7977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/>
                        <a:t>fin</a:t>
                      </a:r>
                      <a:r>
                        <a:rPr lang="it-IT" baseline="-25000" dirty="0"/>
                        <a:t>1</a:t>
                      </a:r>
                      <a:r>
                        <a:rPr lang="it-IT" dirty="0"/>
                        <a:t> = 980MHz, fin</a:t>
                      </a:r>
                      <a:r>
                        <a:rPr lang="it-IT" baseline="-25000" dirty="0"/>
                        <a:t>2</a:t>
                      </a:r>
                      <a:r>
                        <a:rPr lang="it-IT" dirty="0"/>
                        <a:t> = 990MHz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33 \ {7,8,21,22,23}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6</a:t>
                      </a:r>
                      <a:r>
                        <a:rPr lang="it-IT" dirty="0">
                          <a:sym typeface="Wingdings" pitchFamily="2" charset="2"/>
                        </a:rPr>
                        <a:t></a:t>
                      </a:r>
                      <a:r>
                        <a:rPr lang="it-IT" dirty="0"/>
                        <a:t>83.1d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3 </a:t>
                      </a:r>
                      <a:r>
                        <a:rPr lang="it-IT" b="1" dirty="0"/>
                        <a:t>(-12.1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0845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18707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3CEA91C-551B-1F72-683F-CE8253DC222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Single-</a:t>
            </a:r>
            <a:r>
              <a:rPr lang="it-IT" u="sng" dirty="0" err="1"/>
              <a:t>tone</a:t>
            </a:r>
            <a:r>
              <a:rPr lang="it-IT" u="sng" dirty="0"/>
              <a:t> tes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6BCD609F-4FA9-DD02-D68E-D94DD77B7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3287BE2-C508-17BB-12B7-97DD17098D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191CBE7-0241-6739-FF73-BC247DEF73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D458617-2607-BEF0-F358-02DDCDA05394}"/>
              </a:ext>
            </a:extLst>
          </p:cNvPr>
          <p:cNvSpPr/>
          <p:nvPr/>
        </p:nvSpPr>
        <p:spPr bwMode="auto">
          <a:xfrm>
            <a:off x="9507416" y="1043354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0.9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7D6B6C7F-51E5-94B0-93B1-CE4CCD790BF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5738" b="26268"/>
          <a:stretch/>
        </p:blipFill>
        <p:spPr>
          <a:xfrm>
            <a:off x="2001137" y="1508765"/>
            <a:ext cx="7506279" cy="5098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674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2FFCCF-1AD3-3F12-7408-F9C6258F3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C2716E0-ED78-812F-2536-6E9E4C0B809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Single-</a:t>
            </a:r>
            <a:r>
              <a:rPr lang="it-IT" u="sng" dirty="0" err="1"/>
              <a:t>tone</a:t>
            </a:r>
            <a:r>
              <a:rPr lang="it-IT" u="sng" dirty="0"/>
              <a:t> tes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76F0DC53-A2BD-DE86-A38B-CCD794CF5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28D4131-F440-DBE6-5090-76603A539B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F92AB87-A3A2-FC6A-2691-2C26C97937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95B2DDDA-E7A1-C6C2-A3B9-C7DA5B443476}"/>
              </a:ext>
            </a:extLst>
          </p:cNvPr>
          <p:cNvSpPr/>
          <p:nvPr/>
        </p:nvSpPr>
        <p:spPr bwMode="auto">
          <a:xfrm>
            <a:off x="9507416" y="1043354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0.9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86AB22C1-9196-A481-7E04-087C48C56F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5738" b="26268"/>
          <a:stretch/>
        </p:blipFill>
        <p:spPr>
          <a:xfrm>
            <a:off x="2001137" y="1508765"/>
            <a:ext cx="7506279" cy="5098046"/>
          </a:xfrm>
          <a:prstGeom prst="rect">
            <a:avLst/>
          </a:prstGeom>
        </p:spPr>
      </p:pic>
      <p:cxnSp>
        <p:nvCxnSpPr>
          <p:cNvPr id="10" name="Connettore 7 9">
            <a:extLst>
              <a:ext uri="{FF2B5EF4-FFF2-40B4-BE49-F238E27FC236}">
                <a16:creationId xmlns:a16="http://schemas.microsoft.com/office/drawing/2014/main" id="{B630ECEE-8F9A-E343-97B4-97B4FB9224EF}"/>
              </a:ext>
            </a:extLst>
          </p:cNvPr>
          <p:cNvCxnSpPr>
            <a:cxnSpLocks/>
          </p:cNvCxnSpPr>
          <p:nvPr/>
        </p:nvCxnSpPr>
        <p:spPr>
          <a:xfrm rot="10800000" flipH="1">
            <a:off x="2170176" y="3560064"/>
            <a:ext cx="1499616" cy="719328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7A38BAC-B2B9-A535-AA38-1ED58966C083}"/>
              </a:ext>
            </a:extLst>
          </p:cNvPr>
          <p:cNvSpPr txBox="1"/>
          <p:nvPr/>
        </p:nvSpPr>
        <p:spPr bwMode="auto">
          <a:xfrm>
            <a:off x="966801" y="4057788"/>
            <a:ext cx="1300911" cy="4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reach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94.8dB </a:t>
            </a:r>
            <a:r>
              <a:rPr lang="it-IT" sz="1200" kern="0" dirty="0">
                <a:latin typeface="+mn-lt"/>
              </a:rPr>
              <a:t>with m = 21</a:t>
            </a:r>
            <a:endParaRPr lang="it-IT" sz="12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7 11">
            <a:extLst>
              <a:ext uri="{FF2B5EF4-FFF2-40B4-BE49-F238E27FC236}">
                <a16:creationId xmlns:a16="http://schemas.microsoft.com/office/drawing/2014/main" id="{9A862B3E-9A49-0B5C-FA0C-135F1EF0EBB1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2671684" y="2368542"/>
            <a:ext cx="1499616" cy="719328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BEEAE61-2FF1-5683-40ED-24DD0D9D0328}"/>
              </a:ext>
            </a:extLst>
          </p:cNvPr>
          <p:cNvSpPr txBox="1"/>
          <p:nvPr/>
        </p:nvSpPr>
        <p:spPr bwMode="auto">
          <a:xfrm>
            <a:off x="604851" y="2081027"/>
            <a:ext cx="2079733" cy="64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SFDR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nly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d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rders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olynomial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for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= 7 and m = 4</a:t>
            </a:r>
          </a:p>
        </p:txBody>
      </p:sp>
      <p:cxnSp>
        <p:nvCxnSpPr>
          <p:cNvPr id="14" name="Connettore 7 13">
            <a:extLst>
              <a:ext uri="{FF2B5EF4-FFF2-40B4-BE49-F238E27FC236}">
                <a16:creationId xmlns:a16="http://schemas.microsoft.com/office/drawing/2014/main" id="{BBD506EF-E946-510E-E213-6C3D7C1A8F35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4338021" y="1499223"/>
            <a:ext cx="1499616" cy="719328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F82C3BBD-C8BF-32A4-029B-118A07757AB3}"/>
              </a:ext>
            </a:extLst>
          </p:cNvPr>
          <p:cNvSpPr txBox="1"/>
          <p:nvPr/>
        </p:nvSpPr>
        <p:spPr bwMode="auto">
          <a:xfrm>
            <a:off x="2429684" y="1089788"/>
            <a:ext cx="2239108" cy="64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SFDR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nly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d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rders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olynomial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for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= 15 and m = 5</a:t>
            </a:r>
          </a:p>
        </p:txBody>
      </p:sp>
      <p:cxnSp>
        <p:nvCxnSpPr>
          <p:cNvPr id="16" name="Connettore 7 15">
            <a:extLst>
              <a:ext uri="{FF2B5EF4-FFF2-40B4-BE49-F238E27FC236}">
                <a16:creationId xmlns:a16="http://schemas.microsoft.com/office/drawing/2014/main" id="{52BF5878-F4C1-3628-ED14-0D3847E4406A}"/>
              </a:ext>
            </a:extLst>
          </p:cNvPr>
          <p:cNvCxnSpPr>
            <a:cxnSpLocks/>
          </p:cNvCxnSpPr>
          <p:nvPr/>
        </p:nvCxnSpPr>
        <p:spPr>
          <a:xfrm rot="10800000">
            <a:off x="7573625" y="3027548"/>
            <a:ext cx="1499616" cy="719328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E634A2FF-B16B-54D3-1C6B-E04BE9B9DDC2}"/>
              </a:ext>
            </a:extLst>
          </p:cNvPr>
          <p:cNvSpPr txBox="1"/>
          <p:nvPr/>
        </p:nvSpPr>
        <p:spPr bwMode="auto">
          <a:xfrm>
            <a:off x="9073241" y="3544666"/>
            <a:ext cx="2079733" cy="4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SFDR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m = 5</a:t>
            </a:r>
          </a:p>
        </p:txBody>
      </p:sp>
      <p:cxnSp>
        <p:nvCxnSpPr>
          <p:cNvPr id="18" name="Connettore 7 17">
            <a:extLst>
              <a:ext uri="{FF2B5EF4-FFF2-40B4-BE49-F238E27FC236}">
                <a16:creationId xmlns:a16="http://schemas.microsoft.com/office/drawing/2014/main" id="{391E1F86-80FD-D36B-0B24-DE5FD922CE16}"/>
              </a:ext>
            </a:extLst>
          </p:cNvPr>
          <p:cNvCxnSpPr>
            <a:cxnSpLocks/>
          </p:cNvCxnSpPr>
          <p:nvPr/>
        </p:nvCxnSpPr>
        <p:spPr>
          <a:xfrm rot="10800000" flipV="1">
            <a:off x="8595360" y="2946864"/>
            <a:ext cx="1045882" cy="49535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E93B1972-A34B-76B3-AB90-2475E8E99BBC}"/>
              </a:ext>
            </a:extLst>
          </p:cNvPr>
          <p:cNvSpPr txBox="1"/>
          <p:nvPr/>
        </p:nvSpPr>
        <p:spPr bwMode="auto">
          <a:xfrm>
            <a:off x="9641242" y="2744655"/>
            <a:ext cx="2079733" cy="4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SFDR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m = 6</a:t>
            </a:r>
          </a:p>
        </p:txBody>
      </p:sp>
    </p:spTree>
    <p:extLst>
      <p:ext uri="{BB962C8B-B14F-4D97-AF65-F5344CB8AC3E}">
        <p14:creationId xmlns:p14="http://schemas.microsoft.com/office/powerpoint/2010/main" val="27054023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9BF62B-1925-494E-5F04-1DC26B406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5C3B8780-F69A-4E34-E6D6-35FC3F0CB0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Single-</a:t>
            </a:r>
            <a:r>
              <a:rPr lang="it-IT" u="sng" dirty="0" err="1"/>
              <a:t>tone</a:t>
            </a:r>
            <a:r>
              <a:rPr lang="it-IT" u="sng" dirty="0"/>
              <a:t> tes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9048F999-03F5-7793-275F-FB1BE3375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A483221-B1C1-8AE0-72E3-756BA1B763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961EC46B-624E-5D19-4911-2068736F31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C23F6C70-B2AB-67C0-7D13-A4563077E421}"/>
              </a:ext>
            </a:extLst>
          </p:cNvPr>
          <p:cNvSpPr/>
          <p:nvPr/>
        </p:nvSpPr>
        <p:spPr bwMode="auto">
          <a:xfrm>
            <a:off x="9507416" y="1043354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0.9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13A1AAC2-B5B7-FEE4-032B-7E3D7C75D2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516" t="25440" r="7926" b="25058"/>
          <a:stretch/>
        </p:blipFill>
        <p:spPr>
          <a:xfrm>
            <a:off x="2599324" y="1493474"/>
            <a:ext cx="6245134" cy="511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9379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5BF1E-7AFE-F686-B54B-45804997E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2F6E4981-F3C8-8582-6269-92554CDC56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516" t="25440" r="7926" b="25058"/>
          <a:stretch/>
        </p:blipFill>
        <p:spPr>
          <a:xfrm>
            <a:off x="2599324" y="1493474"/>
            <a:ext cx="6245134" cy="5113337"/>
          </a:xfrm>
          <a:prstGeom prst="rect">
            <a:avLst/>
          </a:prstGeom>
        </p:spPr>
      </p:pic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5591D7B-1C8D-BCD9-7729-F7168F27FF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Single-</a:t>
            </a:r>
            <a:r>
              <a:rPr lang="it-IT" u="sng" dirty="0" err="1"/>
              <a:t>tone</a:t>
            </a:r>
            <a:r>
              <a:rPr lang="it-IT" u="sng" dirty="0"/>
              <a:t> tes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7324B70-3806-C13C-B4A8-D3CB69BD9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2C3D480-88CB-5631-2294-5CCA05574A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883C631-C871-2EF5-4F63-1F19B915C5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61264029-CD97-7EA2-42BD-A51A51B267B0}"/>
              </a:ext>
            </a:extLst>
          </p:cNvPr>
          <p:cNvSpPr/>
          <p:nvPr/>
        </p:nvSpPr>
        <p:spPr bwMode="auto">
          <a:xfrm>
            <a:off x="9507416" y="1043354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500M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0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0.9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  <p:cxnSp>
        <p:nvCxnSpPr>
          <p:cNvPr id="14" name="Connettore 7 13">
            <a:extLst>
              <a:ext uri="{FF2B5EF4-FFF2-40B4-BE49-F238E27FC236}">
                <a16:creationId xmlns:a16="http://schemas.microsoft.com/office/drawing/2014/main" id="{4A9BA41C-651D-EB9A-3D51-D6EAB7EA1BAD}"/>
              </a:ext>
            </a:extLst>
          </p:cNvPr>
          <p:cNvCxnSpPr>
            <a:cxnSpLocks/>
          </p:cNvCxnSpPr>
          <p:nvPr/>
        </p:nvCxnSpPr>
        <p:spPr>
          <a:xfrm>
            <a:off x="2725149" y="5210572"/>
            <a:ext cx="3076561" cy="717262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93A93E4-60D3-935B-273A-6710285A454D}"/>
              </a:ext>
            </a:extLst>
          </p:cNvPr>
          <p:cNvSpPr txBox="1"/>
          <p:nvPr/>
        </p:nvSpPr>
        <p:spPr bwMode="auto">
          <a:xfrm>
            <a:off x="816812" y="4801137"/>
            <a:ext cx="2239108" cy="64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TH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nly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d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rders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olynomial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for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p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= 15 and m = 5</a:t>
            </a:r>
          </a:p>
        </p:txBody>
      </p:sp>
      <p:cxnSp>
        <p:nvCxnSpPr>
          <p:cNvPr id="16" name="Connettore 7 15">
            <a:extLst>
              <a:ext uri="{FF2B5EF4-FFF2-40B4-BE49-F238E27FC236}">
                <a16:creationId xmlns:a16="http://schemas.microsoft.com/office/drawing/2014/main" id="{36AC254C-7296-FA87-CEEE-373E856C4ABA}"/>
              </a:ext>
            </a:extLst>
          </p:cNvPr>
          <p:cNvCxnSpPr>
            <a:cxnSpLocks/>
          </p:cNvCxnSpPr>
          <p:nvPr/>
        </p:nvCxnSpPr>
        <p:spPr>
          <a:xfrm rot="10800000">
            <a:off x="8044650" y="5229922"/>
            <a:ext cx="1499616" cy="719328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17BEFB7B-5CC0-E74A-66A1-1BA5E3A9FFA5}"/>
              </a:ext>
            </a:extLst>
          </p:cNvPr>
          <p:cNvSpPr txBox="1"/>
          <p:nvPr/>
        </p:nvSpPr>
        <p:spPr bwMode="auto">
          <a:xfrm>
            <a:off x="9544266" y="5747040"/>
            <a:ext cx="2079733" cy="4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TH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m = 5</a:t>
            </a:r>
          </a:p>
        </p:txBody>
      </p:sp>
      <p:cxnSp>
        <p:nvCxnSpPr>
          <p:cNvPr id="18" name="Connettore 7 17">
            <a:extLst>
              <a:ext uri="{FF2B5EF4-FFF2-40B4-BE49-F238E27FC236}">
                <a16:creationId xmlns:a16="http://schemas.microsoft.com/office/drawing/2014/main" id="{3AA57073-1AEC-2B79-65F3-71CB582978D2}"/>
              </a:ext>
            </a:extLst>
          </p:cNvPr>
          <p:cNvCxnSpPr>
            <a:cxnSpLocks/>
          </p:cNvCxnSpPr>
          <p:nvPr/>
        </p:nvCxnSpPr>
        <p:spPr>
          <a:xfrm rot="10800000" flipV="1">
            <a:off x="8546794" y="4578842"/>
            <a:ext cx="1045882" cy="49535"/>
          </a:xfrm>
          <a:prstGeom prst="curvedConnector3">
            <a:avLst/>
          </a:prstGeom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EFF27412-BE52-3201-BA45-774FF7E39801}"/>
              </a:ext>
            </a:extLst>
          </p:cNvPr>
          <p:cNvSpPr txBox="1"/>
          <p:nvPr/>
        </p:nvSpPr>
        <p:spPr bwMode="auto">
          <a:xfrm>
            <a:off x="9592676" y="4376633"/>
            <a:ext cx="2079733" cy="4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baseline="0" dirty="0">
                <a:latin typeface="+mn-lt"/>
                <a:ea typeface="+mn-ea"/>
                <a:cs typeface="+mn-cs"/>
              </a:rPr>
              <a:t>Can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obtain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the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same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dirty="0">
                <a:latin typeface="+mn-lt"/>
              </a:rPr>
              <a:t>THD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it-IT" sz="1200" kern="0" baseline="0" dirty="0" err="1">
                <a:latin typeface="+mn-lt"/>
                <a:ea typeface="+mn-ea"/>
                <a:cs typeface="+mn-cs"/>
              </a:rPr>
              <a:t>considering</a:t>
            </a:r>
            <a:r>
              <a:rPr lang="it-IT" sz="1200" kern="0" baseline="0" dirty="0">
                <a:latin typeface="+mn-lt"/>
                <a:ea typeface="+mn-ea"/>
                <a:cs typeface="+mn-cs"/>
              </a:rPr>
              <a:t> m = 6</a:t>
            </a:r>
          </a:p>
        </p:txBody>
      </p:sp>
    </p:spTree>
    <p:extLst>
      <p:ext uri="{BB962C8B-B14F-4D97-AF65-F5344CB8AC3E}">
        <p14:creationId xmlns:p14="http://schemas.microsoft.com/office/powerpoint/2010/main" val="40829062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2FE04F-B7B3-A18D-D314-BBA8233B42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C570AEC8-BA57-44E4-530E-C441D1E9909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/>
              <a:t>Single-</a:t>
            </a:r>
            <a:r>
              <a:rPr lang="it-IT" u="sng" dirty="0" err="1"/>
              <a:t>tone</a:t>
            </a:r>
            <a:r>
              <a:rPr lang="it-IT" u="sng" dirty="0"/>
              <a:t> tes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1908566-BB2F-0C64-DE42-B84F5EBA2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B8306ED-B6C6-4A3D-E1CA-64AD3E316A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70AB539-9D42-B427-AE11-775A9C67AF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91397E96-B745-811D-CAE4-DDB92AA0B9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7694" b="26206"/>
          <a:stretch/>
        </p:blipFill>
        <p:spPr>
          <a:xfrm>
            <a:off x="118862" y="2171273"/>
            <a:ext cx="6144065" cy="400812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7EE6C489-38CB-E5C6-F95B-8B7F7C1DBC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6863" b="25610"/>
          <a:stretch/>
        </p:blipFill>
        <p:spPr>
          <a:xfrm>
            <a:off x="5634627" y="2156033"/>
            <a:ext cx="6046554" cy="4066713"/>
          </a:xfrm>
          <a:prstGeom prst="rect">
            <a:avLst/>
          </a:prstGeom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99750C46-73A9-AD03-C856-E9F234E554F0}"/>
              </a:ext>
            </a:extLst>
          </p:cNvPr>
          <p:cNvSpPr/>
          <p:nvPr/>
        </p:nvSpPr>
        <p:spPr bwMode="auto">
          <a:xfrm>
            <a:off x="9861452" y="878240"/>
            <a:ext cx="2239108" cy="13598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defTabSz="576000" eaLnBrk="0" hangingPunct="0">
              <a:lnSpc>
                <a:spcPct val="120000"/>
              </a:lnSpc>
            </a:pPr>
            <a:r>
              <a:rPr lang="it-IT" sz="1600" dirty="0" err="1">
                <a:solidFill>
                  <a:schemeClr val="tx1"/>
                </a:solidFill>
              </a:rPr>
              <a:t>f</a:t>
            </a: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GHz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fft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^11</a:t>
            </a:r>
          </a:p>
          <a:p>
            <a:pPr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Ain</a:t>
            </a:r>
            <a:r>
              <a:rPr lang="it-IT" sz="1600" baseline="-25000" dirty="0">
                <a:solidFill>
                  <a:schemeClr val="tx1"/>
                </a:solidFill>
              </a:rPr>
              <a:t>1</a:t>
            </a:r>
            <a:r>
              <a:rPr lang="it-IT" sz="1600" dirty="0">
                <a:solidFill>
                  <a:schemeClr val="tx1"/>
                </a:solidFill>
              </a:rPr>
              <a:t> = 0.9*</a:t>
            </a:r>
            <a:r>
              <a:rPr lang="it-IT" sz="1600" dirty="0" err="1">
                <a:solidFill>
                  <a:schemeClr val="tx1"/>
                </a:solidFill>
              </a:rPr>
              <a:t>Vdd</a:t>
            </a:r>
            <a:endParaRPr lang="it-IT" sz="1600" dirty="0">
              <a:solidFill>
                <a:schemeClr val="tx1"/>
              </a:solidFill>
            </a:endParaRPr>
          </a:p>
          <a:p>
            <a:pPr defTabSz="576000" eaLnBrk="0" hangingPunct="0">
              <a:lnSpc>
                <a:spcPct val="120000"/>
              </a:lnSpc>
            </a:pP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𝜙</a:t>
            </a:r>
            <a:r>
              <a:rPr lang="it-IT" sz="16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it-IT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42°</a:t>
            </a:r>
          </a:p>
        </p:txBody>
      </p:sp>
    </p:spTree>
    <p:extLst>
      <p:ext uri="{BB962C8B-B14F-4D97-AF65-F5344CB8AC3E}">
        <p14:creationId xmlns:p14="http://schemas.microsoft.com/office/powerpoint/2010/main" val="223771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B300E-10D6-FC33-EC51-8219F37B6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912CCEBF-9358-F7BD-A64B-8445A6D43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0655" y="4119531"/>
            <a:ext cx="3326400" cy="252000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EF4EAF59-EC4E-1AA6-CB33-057E92DC61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4238" y="4119531"/>
            <a:ext cx="3221379" cy="252000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B072D3A-2CAF-7917-E325-DA82ED7698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739" y="1478622"/>
            <a:ext cx="3221695" cy="25200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14654309-E7A1-C5D4-260A-D4414EB987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6420" y="1434434"/>
            <a:ext cx="3202245" cy="25200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537909D9-1F30-D252-BC97-AFE4C611F0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1475" y="1434434"/>
            <a:ext cx="3222397" cy="2520000"/>
          </a:xfrm>
          <a:prstGeom prst="rect">
            <a:avLst/>
          </a:prstGeom>
        </p:spPr>
      </p:pic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B15FB19B-A415-15BB-71CD-981C693D7C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000" y="196001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  <a:endParaRPr lang="it-IT" sz="800" dirty="0"/>
          </a:p>
          <a:p>
            <a:pPr marL="457200" indent="-457200">
              <a:buFont typeface="+mj-lt"/>
              <a:buAutoNum type="arabicPeriod"/>
            </a:pPr>
            <a:r>
              <a:rPr lang="it-IT" dirty="0"/>
              <a:t>PA-like plots</a:t>
            </a:r>
            <a:br>
              <a:rPr lang="it-IT" dirty="0"/>
            </a:br>
            <a:r>
              <a:rPr lang="it-IT" sz="1800" i="1" dirty="0"/>
              <a:t>single </a:t>
            </a:r>
            <a:r>
              <a:rPr lang="it-IT" sz="1800" i="1" dirty="0" err="1"/>
              <a:t>tone</a:t>
            </a:r>
            <a:endParaRPr lang="it-IT" sz="800" i="1" dirty="0"/>
          </a:p>
          <a:p>
            <a:pPr marL="0" indent="0">
              <a:buNone/>
            </a:pPr>
            <a:r>
              <a:rPr lang="it-IT" sz="1800" i="1" dirty="0"/>
              <a:t>		</a:t>
            </a:r>
            <a:r>
              <a:rPr lang="it-IT" sz="1800" dirty="0"/>
              <a:t>fin = 10MHz		    			fin = 200MHz			    	    fin = 490MHz			</a:t>
            </a:r>
            <a:br>
              <a:rPr lang="it-IT" sz="1800" dirty="0"/>
            </a:br>
            <a:br>
              <a:rPr lang="it-IT" sz="1800" dirty="0"/>
            </a:br>
            <a:br>
              <a:rPr lang="it-IT" sz="1800" dirty="0"/>
            </a:br>
            <a:r>
              <a:rPr lang="it-IT" sz="1800" dirty="0"/>
              <a:t>	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						fin = 650MHz				fin = 990M 			</a:t>
            </a:r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F2D967D-D677-A77C-89A2-5E2FA2ED15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610350" y="8772583"/>
            <a:ext cx="0" cy="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AE23DF9-AB84-9431-3E75-38A58A07E2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610350" y="8772583"/>
            <a:ext cx="0" cy="0"/>
          </a:xfr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7580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5"/>
            <a:ext cx="11520000" cy="427382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dirty="0"/>
              <a:t>Issues involved in choosing to increase fs from 2GHz to 4GH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status</a:t>
            </a:r>
          </a:p>
        </p:txBody>
      </p:sp>
      <p:cxnSp>
        <p:nvCxnSpPr>
          <p:cNvPr id="5" name="Connettore 1 4">
            <a:extLst>
              <a:ext uri="{FF2B5EF4-FFF2-40B4-BE49-F238E27FC236}">
                <a16:creationId xmlns:a16="http://schemas.microsoft.com/office/drawing/2014/main" id="{BBD7373F-531C-D762-3516-718B3ABCBEED}"/>
              </a:ext>
            </a:extLst>
          </p:cNvPr>
          <p:cNvCxnSpPr/>
          <p:nvPr/>
        </p:nvCxnSpPr>
        <p:spPr>
          <a:xfrm>
            <a:off x="3985146" y="2060812"/>
            <a:ext cx="0" cy="4244454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1AD3BD86-36D4-56EC-BFD9-780A44E54985}"/>
              </a:ext>
            </a:extLst>
          </p:cNvPr>
          <p:cNvCxnSpPr/>
          <p:nvPr/>
        </p:nvCxnSpPr>
        <p:spPr>
          <a:xfrm>
            <a:off x="7681487" y="2060812"/>
            <a:ext cx="0" cy="4244454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B86D03CA-70E4-47A7-E9D3-884E86C811F6}"/>
              </a:ext>
            </a:extLst>
          </p:cNvPr>
          <p:cNvSpPr txBox="1"/>
          <p:nvPr/>
        </p:nvSpPr>
        <p:spPr bwMode="auto">
          <a:xfrm>
            <a:off x="334800" y="2055491"/>
            <a:ext cx="3568123" cy="390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chemeClr val="tx2"/>
                </a:solidFill>
              </a:rPr>
              <a:t>Channels speed</a:t>
            </a:r>
          </a:p>
          <a:p>
            <a:pPr marL="0" indent="0" algn="ctr">
              <a:lnSpc>
                <a:spcPct val="100000"/>
              </a:lnSpc>
              <a:buNone/>
            </a:pPr>
            <a:endParaRPr lang="en-US" sz="10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Can the channels, as they are, achieve the required speed (1GS/s)? What is the bottleneck to their speed?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u="sng" dirty="0"/>
              <a:t>Responsible</a:t>
            </a:r>
            <a:r>
              <a:rPr lang="en-US" sz="1600" dirty="0"/>
              <a:t> </a:t>
            </a:r>
            <a:r>
              <a:rPr lang="en-US" sz="1600" dirty="0" err="1"/>
              <a:t>Albezzano</a:t>
            </a:r>
            <a:r>
              <a:rPr lang="en-US" sz="1600" dirty="0"/>
              <a:t>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u="sng" dirty="0"/>
              <a:t>Strategy</a:t>
            </a:r>
            <a:r>
              <a:rPr lang="en-US" sz="1600" dirty="0"/>
              <a:t>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simulate the individual stages to get a good understanding of which may be limiting the speed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simulate the whole core to realistically test the pipeline handshake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redesign the limiting blocks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5F223AB-7965-A0B9-6FB2-C69D455D12DC}"/>
              </a:ext>
            </a:extLst>
          </p:cNvPr>
          <p:cNvSpPr txBox="1"/>
          <p:nvPr/>
        </p:nvSpPr>
        <p:spPr bwMode="auto">
          <a:xfrm>
            <a:off x="4067370" y="2055492"/>
            <a:ext cx="3568123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000" dirty="0" err="1">
                <a:solidFill>
                  <a:schemeClr val="tx2"/>
                </a:solidFill>
              </a:rPr>
              <a:t>Clk</a:t>
            </a:r>
            <a:r>
              <a:rPr lang="en-US" sz="2000" dirty="0">
                <a:solidFill>
                  <a:schemeClr val="tx2"/>
                </a:solidFill>
              </a:rPr>
              <a:t> chain</a:t>
            </a:r>
          </a:p>
          <a:p>
            <a:pPr marL="0" indent="0" algn="ctr">
              <a:lnSpc>
                <a:spcPct val="100000"/>
              </a:lnSpc>
              <a:buNone/>
            </a:pPr>
            <a:endParaRPr lang="en-US" sz="10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dirty="0"/>
              <a:t>As fs increases, the maximum tolerable jitter on the </a:t>
            </a:r>
            <a:r>
              <a:rPr lang="en-US" sz="1600" dirty="0" err="1"/>
              <a:t>clk</a:t>
            </a:r>
            <a:r>
              <a:rPr lang="en-US" sz="1600" dirty="0"/>
              <a:t> reduce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u="sng" dirty="0"/>
              <a:t>Responsible</a:t>
            </a:r>
            <a:r>
              <a:rPr lang="en-US" sz="1600" dirty="0"/>
              <a:t> </a:t>
            </a:r>
            <a:r>
              <a:rPr lang="en-US" sz="1600" dirty="0" err="1"/>
              <a:t>Tombolan</a:t>
            </a:r>
            <a:r>
              <a:rPr lang="en-US" sz="1600" dirty="0"/>
              <a:t>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600" u="sng" dirty="0"/>
              <a:t>Strategy</a:t>
            </a:r>
            <a:r>
              <a:rPr lang="en-US" sz="1600" dirty="0"/>
              <a:t>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redesign of the </a:t>
            </a:r>
            <a:r>
              <a:rPr lang="en-US" sz="1600" dirty="0" err="1"/>
              <a:t>clk</a:t>
            </a:r>
            <a:r>
              <a:rPr lang="en-US" sz="1600" dirty="0"/>
              <a:t> </a:t>
            </a:r>
            <a:r>
              <a:rPr lang="en-US" sz="1600" dirty="0" err="1"/>
              <a:t>resampler</a:t>
            </a:r>
            <a:endParaRPr lang="en-US" sz="1600" dirty="0"/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eliminate the p-part of the </a:t>
            </a:r>
            <a:r>
              <a:rPr lang="en-US" sz="1600" dirty="0" err="1"/>
              <a:t>clk</a:t>
            </a:r>
            <a:r>
              <a:rPr lang="en-US" sz="1600" dirty="0"/>
              <a:t> chain (unused) to halve the consumption of the </a:t>
            </a:r>
            <a:r>
              <a:rPr lang="en-US" sz="1600" dirty="0" err="1"/>
              <a:t>clk</a:t>
            </a:r>
            <a:r>
              <a:rPr lang="en-US" sz="1600" dirty="0"/>
              <a:t> chain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600" dirty="0"/>
              <a:t>move the phase generator from the </a:t>
            </a:r>
            <a:r>
              <a:rPr lang="en-US" sz="1600" dirty="0" err="1"/>
              <a:t>clkgen</a:t>
            </a:r>
            <a:r>
              <a:rPr lang="en-US" sz="1600" dirty="0"/>
              <a:t> (internal to each channel) and place it in common to all the cores to avoid problems with their </a:t>
            </a:r>
            <a:r>
              <a:rPr lang="en-US" sz="1600" dirty="0" err="1"/>
              <a:t>rst</a:t>
            </a:r>
            <a:r>
              <a:rPr lang="en-US" sz="1600" dirty="0"/>
              <a:t> (possibility of replacing it with the one presented by Airoldi)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AB7A958-5840-A7F6-B60F-049CDB734288}"/>
              </a:ext>
            </a:extLst>
          </p:cNvPr>
          <p:cNvSpPr txBox="1"/>
          <p:nvPr/>
        </p:nvSpPr>
        <p:spPr bwMode="auto">
          <a:xfrm>
            <a:off x="7952321" y="2055491"/>
            <a:ext cx="3568123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chemeClr val="tx2"/>
                </a:solidFill>
              </a:rPr>
              <a:t>Front-end non linearities and digital calibrations</a:t>
            </a:r>
          </a:p>
          <a:p>
            <a:pPr marL="0" indent="0" algn="ctr">
              <a:lnSpc>
                <a:spcPct val="100000"/>
              </a:lnSpc>
              <a:buNone/>
            </a:pPr>
            <a:endParaRPr lang="en-US" sz="1000" dirty="0"/>
          </a:p>
          <a:p>
            <a:r>
              <a:rPr lang="it-IT" sz="1600" u="sng" dirty="0"/>
              <a:t>Responsible</a:t>
            </a:r>
            <a:r>
              <a:rPr lang="it-IT" sz="1600" dirty="0"/>
              <a:t> Ceroni </a:t>
            </a:r>
          </a:p>
          <a:p>
            <a:endParaRPr lang="it-IT" sz="1600" dirty="0"/>
          </a:p>
          <a:p>
            <a:r>
              <a:rPr lang="it-IT" sz="1600" u="sng" dirty="0"/>
              <a:t>Strategy</a:t>
            </a:r>
          </a:p>
          <a:p>
            <a:pPr marL="342900" indent="-342900">
              <a:buFont typeface="+mj-lt"/>
              <a:buAutoNum type="arabicPeriod"/>
            </a:pPr>
            <a:r>
              <a:rPr lang="it-IT" sz="1600" dirty="0"/>
              <a:t>Testing sampler and input-buffer performance for fin up to 2GS/</a:t>
            </a:r>
            <a:r>
              <a:rPr lang="it-IT" sz="1600" dirty="0" err="1"/>
              <a:t>s</a:t>
            </a:r>
            <a:endParaRPr lang="it-IT" sz="1600" dirty="0"/>
          </a:p>
          <a:p>
            <a:pPr marL="342900" indent="-342900">
              <a:buFont typeface="+mj-lt"/>
              <a:buAutoNum type="arabicPeriod"/>
            </a:pPr>
            <a:r>
              <a:rPr lang="it-IT" sz="1600" dirty="0" err="1"/>
              <a:t>Possible</a:t>
            </a:r>
            <a:r>
              <a:rPr lang="it-IT" sz="1600" dirty="0"/>
              <a:t> redesign of </a:t>
            </a:r>
            <a:r>
              <a:rPr lang="it-IT" sz="1600" dirty="0" err="1"/>
              <a:t>blocks</a:t>
            </a:r>
            <a:r>
              <a:rPr lang="it-IT" sz="1600" dirty="0"/>
              <a:t> and/or </a:t>
            </a:r>
            <a:r>
              <a:rPr lang="it-IT" sz="1600" dirty="0" err="1"/>
              <a:t>implementation</a:t>
            </a:r>
            <a:r>
              <a:rPr lang="it-IT" sz="1600" dirty="0"/>
              <a:t> of a </a:t>
            </a:r>
            <a:r>
              <a:rPr lang="it-IT" sz="1600" dirty="0" err="1"/>
              <a:t>calibration</a:t>
            </a:r>
            <a:r>
              <a:rPr lang="it-IT" sz="1600" dirty="0"/>
              <a:t> to </a:t>
            </a:r>
            <a:r>
              <a:rPr lang="it-IT" sz="1600" dirty="0" err="1"/>
              <a:t>improve</a:t>
            </a:r>
            <a:r>
              <a:rPr lang="it-IT" sz="1600" dirty="0"/>
              <a:t> performance</a:t>
            </a:r>
          </a:p>
          <a:p>
            <a:pPr marL="342900" indent="-342900">
              <a:buFont typeface="+mj-lt"/>
              <a:buAutoNum type="arabicPeriod"/>
            </a:pPr>
            <a:r>
              <a:rPr lang="it-IT" sz="1600" dirty="0"/>
              <a:t>Digital routine for random </a:t>
            </a:r>
            <a:r>
              <a:rPr lang="it-IT" sz="1600" dirty="0" err="1"/>
              <a:t>interleaving</a:t>
            </a:r>
            <a:endParaRPr lang="it-IT" sz="1600" dirty="0"/>
          </a:p>
          <a:p>
            <a:pPr marL="342900" indent="-342900">
              <a:buFont typeface="+mj-lt"/>
              <a:buAutoNum type="arabicPeriod"/>
            </a:pPr>
            <a:r>
              <a:rPr lang="it-IT" sz="1600" dirty="0"/>
              <a:t>Handling </a:t>
            </a:r>
            <a:r>
              <a:rPr lang="it-IT" sz="1600" dirty="0" err="1"/>
              <a:t>digital</a:t>
            </a:r>
            <a:r>
              <a:rPr lang="it-IT" sz="1600" dirty="0"/>
              <a:t> @ 1GS/</a:t>
            </a:r>
            <a:r>
              <a:rPr lang="it-IT" sz="1600" dirty="0" err="1"/>
              <a:t>s</a:t>
            </a:r>
            <a:r>
              <a:rPr lang="it-IT" sz="1600" dirty="0"/>
              <a:t>: </a:t>
            </a:r>
            <a:r>
              <a:rPr lang="it-IT" sz="1600" dirty="0" err="1"/>
              <a:t>downsampling</a:t>
            </a:r>
            <a:r>
              <a:rPr lang="it-IT" sz="1600" dirty="0"/>
              <a:t> </a:t>
            </a:r>
            <a:r>
              <a:rPr lang="it-IT" sz="1600" dirty="0" err="1"/>
              <a:t>necessary</a:t>
            </a:r>
            <a:r>
              <a:rPr lang="it-IT" sz="1600" dirty="0"/>
              <a:t>?</a:t>
            </a:r>
            <a:br>
              <a:rPr lang="en-US" sz="1600" dirty="0"/>
            </a:br>
            <a:r>
              <a:rPr lang="en-US" sz="1600" dirty="0"/>
              <a:t>(Thanks Michele for the hint)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903C8-4C50-4FD1-4273-EA85B5EEE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96529AF0-FEA7-1861-48BF-03CC51973CB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6000" y="196001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  <a:endParaRPr lang="it-IT" sz="800" dirty="0"/>
          </a:p>
          <a:p>
            <a:pPr marL="457200" indent="-457200">
              <a:buFont typeface="+mj-lt"/>
              <a:buAutoNum type="arabicPeriod"/>
            </a:pPr>
            <a:r>
              <a:rPr lang="it-IT" dirty="0"/>
              <a:t>PA-like plots</a:t>
            </a:r>
            <a:br>
              <a:rPr lang="it-IT" dirty="0"/>
            </a:br>
            <a:r>
              <a:rPr lang="it-IT" sz="1800" i="1" dirty="0" err="1"/>
              <a:t>two</a:t>
            </a:r>
            <a:r>
              <a:rPr lang="it-IT" sz="1800" i="1" dirty="0"/>
              <a:t> </a:t>
            </a:r>
            <a:r>
              <a:rPr lang="it-IT" sz="1800" i="1" dirty="0" err="1"/>
              <a:t>tones</a:t>
            </a:r>
            <a:endParaRPr lang="it-IT" sz="800" i="1" dirty="0"/>
          </a:p>
          <a:p>
            <a:pPr marL="0" indent="0">
              <a:buNone/>
            </a:pPr>
            <a:r>
              <a:rPr lang="it-IT" sz="1800" i="1" dirty="0"/>
              <a:t>		</a:t>
            </a:r>
            <a:r>
              <a:rPr lang="it-IT" sz="1800" dirty="0"/>
              <a:t>fin = 200MHz		    			fin = 800MHz			    	    	fin = 980MHz					</a:t>
            </a:r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FB5AA240-0657-A660-8951-02339D9BB3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610350" y="8772583"/>
            <a:ext cx="0" cy="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BA81686-EA58-87DC-766C-AA2331742A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610350" y="8772583"/>
            <a:ext cx="0" cy="0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151A74B3-8828-D914-0151-29D6E0E7F61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924" r="1186"/>
          <a:stretch/>
        </p:blipFill>
        <p:spPr>
          <a:xfrm>
            <a:off x="8511927" y="1629000"/>
            <a:ext cx="3478626" cy="28800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27F36C5A-7119-161D-E956-FD8B2BB1C3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4053" y="1629000"/>
            <a:ext cx="3629858" cy="288360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689C642B-9B42-FBA0-E703-1E088E465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507" y="1629000"/>
            <a:ext cx="3673251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503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3F167954-09E2-7C39-DF73-B789F116B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8" y="4117870"/>
            <a:ext cx="2888198" cy="2339949"/>
          </a:xfrm>
          <a:prstGeom prst="rect">
            <a:avLst/>
          </a:prstGeom>
        </p:spPr>
      </p:pic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7FBA733-A02D-5BB9-F4FA-FB26A57E42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88720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u="sng" dirty="0"/>
              <a:t>2 </a:t>
            </a:r>
            <a:r>
              <a:rPr lang="it-IT" u="sng" dirty="0" err="1"/>
              <a:t>tones</a:t>
            </a:r>
            <a:endParaRPr lang="it-IT" dirty="0"/>
          </a:p>
          <a:p>
            <a:pPr marL="457200" indent="-457200">
              <a:buFont typeface="+mj-lt"/>
              <a:buAutoNum type="arabicPeriod"/>
            </a:pPr>
            <a:r>
              <a:rPr lang="it-IT" dirty="0"/>
              <a:t>Cross-</a:t>
            </a:r>
            <a:r>
              <a:rPr lang="it-IT" dirty="0" err="1"/>
              <a:t>correlation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Vin and </a:t>
            </a:r>
            <a:r>
              <a:rPr lang="it-IT" dirty="0" err="1"/>
              <a:t>Vout</a:t>
            </a:r>
            <a:r>
              <a:rPr lang="it-IT" dirty="0"/>
              <a:t> of the sampler </a:t>
            </a:r>
            <a:br>
              <a:rPr lang="it-IT" dirty="0"/>
            </a:br>
            <a:r>
              <a:rPr lang="it-IT" dirty="0"/>
              <a:t>	</a:t>
            </a:r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Auto-</a:t>
            </a:r>
            <a:r>
              <a:rPr lang="it-IT" dirty="0" err="1"/>
              <a:t>correlation</a:t>
            </a:r>
            <a:r>
              <a:rPr lang="it-IT" dirty="0"/>
              <a:t> of Vin </a:t>
            </a:r>
          </a:p>
          <a:p>
            <a:pPr marL="0" indent="0">
              <a:buNone/>
            </a:pPr>
            <a:r>
              <a:rPr lang="it-IT" dirty="0"/>
              <a:t>	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24A9B6C4-4B29-B947-CB3B-6B78B6F7C7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3CD0BDB-6FE9-601D-D8A0-A014E24A2D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402690BA-7561-C60D-BDBF-4F79174F0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8" y="1657487"/>
            <a:ext cx="2689075" cy="217917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45543DC7-025D-CD25-F281-03C3E05A07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0818" y="1657487"/>
            <a:ext cx="2730655" cy="217917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744EF4D4-4AF3-FEDB-F326-40E565A25D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6695" y="1657487"/>
            <a:ext cx="2730655" cy="2220713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AD121701-C7DB-44FB-A709-7D488B76DE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4352" y="4148547"/>
            <a:ext cx="2915339" cy="230702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E26362F5-FACB-363E-6C06-D7F16C5300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50818" y="4052013"/>
            <a:ext cx="2898122" cy="230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818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0E702-02F4-AA2C-A3CD-255A50FC8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74379072-84C6-14AE-708A-CF780CF5EE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88720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u="sng" dirty="0"/>
              <a:t>2 </a:t>
            </a:r>
            <a:r>
              <a:rPr lang="it-IT" u="sng" dirty="0" err="1"/>
              <a:t>tones</a:t>
            </a:r>
            <a:endParaRPr lang="it-IT" dirty="0"/>
          </a:p>
          <a:p>
            <a:pPr marL="457200" indent="-457200">
              <a:buFont typeface="+mj-lt"/>
              <a:buAutoNum type="arabicPeriod"/>
            </a:pPr>
            <a:r>
              <a:rPr lang="it-IT" dirty="0"/>
              <a:t>Cross-</a:t>
            </a:r>
            <a:r>
              <a:rPr lang="it-IT" dirty="0" err="1"/>
              <a:t>correlation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Vin and </a:t>
            </a:r>
            <a:r>
              <a:rPr lang="it-IT" dirty="0" err="1"/>
              <a:t>Vout</a:t>
            </a:r>
            <a:r>
              <a:rPr lang="it-IT" dirty="0"/>
              <a:t> of the sampler </a:t>
            </a:r>
            <a:br>
              <a:rPr lang="it-IT" dirty="0"/>
            </a:br>
            <a:r>
              <a:rPr lang="it-IT" dirty="0"/>
              <a:t>	</a:t>
            </a:r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033B59F-F989-9C24-28EC-F80283A130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0BE4235-BE20-86A9-6660-C51B51DC36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BE930882-8962-A344-C117-94B88730C3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8" y="1657486"/>
            <a:ext cx="4740299" cy="384143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C1384FE-C1BE-9D4E-A769-0E5EFCFE3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9355" y="1657486"/>
            <a:ext cx="4813595" cy="3841438"/>
          </a:xfrm>
          <a:prstGeom prst="rect">
            <a:avLst/>
          </a:prstGeom>
        </p:spPr>
      </p:pic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50AB658C-348A-1C0B-E2E2-D0B9921A510A}"/>
              </a:ext>
            </a:extLst>
          </p:cNvPr>
          <p:cNvCxnSpPr>
            <a:cxnSpLocks/>
          </p:cNvCxnSpPr>
          <p:nvPr/>
        </p:nvCxnSpPr>
        <p:spPr>
          <a:xfrm>
            <a:off x="1924050" y="5498924"/>
            <a:ext cx="2322273" cy="0"/>
          </a:xfrm>
          <a:prstGeom prst="straightConnector1">
            <a:avLst/>
          </a:prstGeom>
          <a:ln w="38100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C00E6863-8283-40B1-DD93-32B1801BF26B}"/>
                  </a:ext>
                </a:extLst>
              </p:cNvPr>
              <p:cNvSpPr txBox="1"/>
              <p:nvPr/>
            </p:nvSpPr>
            <p:spPr bwMode="auto">
              <a:xfrm>
                <a:off x="1804789" y="5581650"/>
                <a:ext cx="2441534" cy="6862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1800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it-IT" sz="180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s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it-IT" sz="180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80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∆</m:t>
                              </m:r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in</m:t>
                              </m:r>
                            </m:sub>
                          </m:sSub>
                        </m:den>
                      </m:f>
                      <m:r>
                        <a:rPr lang="it-IT" sz="1800" b="0" i="0" kern="0" baseline="0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500</m:t>
                          </m:r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𝑀𝐻𝑧</m:t>
                          </m:r>
                        </m:num>
                        <m:den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5.6</m:t>
                          </m:r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𝑀𝐻𝑧</m:t>
                          </m:r>
                        </m:den>
                      </m:f>
                      <m:r>
                        <a:rPr lang="it-IT" sz="1800" b="0" i="1" kern="0" baseline="0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=90</m:t>
                      </m:r>
                    </m:oMath>
                  </m:oMathPara>
                </a14:m>
                <a:endParaRPr lang="it-IT" sz="1800" kern="0" baseline="0" dirty="0">
                  <a:latin typeface="+mn-lt"/>
                </a:endParaRPr>
              </a:p>
            </p:txBody>
          </p:sp>
        </mc:Choice>
        <mc:Fallback>
          <p:sp>
            <p:nvSpPr>
              <p:cNvPr id="13" name="CasellaDiTesto 12">
                <a:extLst>
                  <a:ext uri="{FF2B5EF4-FFF2-40B4-BE49-F238E27FC236}">
                    <a16:creationId xmlns:a16="http://schemas.microsoft.com/office/drawing/2014/main" id="{C00E6863-8283-40B1-DD93-32B1801BF2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804789" y="5581650"/>
                <a:ext cx="2441534" cy="686278"/>
              </a:xfrm>
              <a:prstGeom prst="rect">
                <a:avLst/>
              </a:prstGeom>
              <a:blipFill>
                <a:blip r:embed="rId4"/>
                <a:stretch>
                  <a:fillRect b="-7273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820D37E1-D6FE-E2EA-FD59-90FFD9664301}"/>
              </a:ext>
            </a:extLst>
          </p:cNvPr>
          <p:cNvCxnSpPr>
            <a:cxnSpLocks/>
          </p:cNvCxnSpPr>
          <p:nvPr/>
        </p:nvCxnSpPr>
        <p:spPr>
          <a:xfrm>
            <a:off x="7543800" y="5498924"/>
            <a:ext cx="1495425" cy="0"/>
          </a:xfrm>
          <a:prstGeom prst="straightConnector1">
            <a:avLst/>
          </a:prstGeom>
          <a:ln w="38100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CasellaDiTesto 15">
                <a:extLst>
                  <a:ext uri="{FF2B5EF4-FFF2-40B4-BE49-F238E27FC236}">
                    <a16:creationId xmlns:a16="http://schemas.microsoft.com/office/drawing/2014/main" id="{AA88DBAE-BE64-A3A9-9BE0-729B80F73C4F}"/>
                  </a:ext>
                </a:extLst>
              </p:cNvPr>
              <p:cNvSpPr txBox="1"/>
              <p:nvPr/>
            </p:nvSpPr>
            <p:spPr bwMode="auto">
              <a:xfrm>
                <a:off x="7281664" y="5581650"/>
                <a:ext cx="2441534" cy="6862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it-IT" sz="1800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it-IT" sz="180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s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it-IT" sz="180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80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∆</m:t>
                              </m:r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it-IT" sz="1800" b="0" i="0" kern="0" baseline="0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in</m:t>
                              </m:r>
                            </m:sub>
                          </m:sSub>
                        </m:den>
                      </m:f>
                      <m:r>
                        <a:rPr lang="it-IT" sz="1800" b="0" i="0" kern="0" baseline="0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500</m:t>
                          </m:r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𝑀𝐻𝑧</m:t>
                          </m:r>
                        </m:num>
                        <m:den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  <m:r>
                            <a:rPr lang="it-IT" sz="1800" b="0" i="1" kern="0" baseline="0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𝑀𝐻𝑧</m:t>
                          </m:r>
                        </m:den>
                      </m:f>
                      <m:r>
                        <a:rPr lang="it-IT" sz="1800" b="0" i="1" kern="0" baseline="0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=50</m:t>
                      </m:r>
                    </m:oMath>
                  </m:oMathPara>
                </a14:m>
                <a:endParaRPr lang="it-IT" sz="1800" kern="0" baseline="0" dirty="0">
                  <a:latin typeface="+mn-lt"/>
                </a:endParaRPr>
              </a:p>
            </p:txBody>
          </p:sp>
        </mc:Choice>
        <mc:Fallback>
          <p:sp>
            <p:nvSpPr>
              <p:cNvPr id="16" name="CasellaDiTesto 15">
                <a:extLst>
                  <a:ext uri="{FF2B5EF4-FFF2-40B4-BE49-F238E27FC236}">
                    <a16:creationId xmlns:a16="http://schemas.microsoft.com/office/drawing/2014/main" id="{AA88DBAE-BE64-A3A9-9BE0-729B80F73C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281664" y="5581650"/>
                <a:ext cx="2441534" cy="686278"/>
              </a:xfrm>
              <a:prstGeom prst="rect">
                <a:avLst/>
              </a:prstGeom>
              <a:blipFill>
                <a:blip r:embed="rId5"/>
                <a:stretch>
                  <a:fillRect b="-7273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931288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BD79B4-79F8-1D92-165D-00BFFD05D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4F1E04C8-00AA-3581-65A1-983B284530E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88720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u="sng" dirty="0"/>
              <a:t>2 </a:t>
            </a:r>
            <a:r>
              <a:rPr lang="it-IT" u="sng" dirty="0" err="1"/>
              <a:t>tones</a:t>
            </a:r>
            <a:endParaRPr lang="it-IT" dirty="0"/>
          </a:p>
          <a:p>
            <a:pPr marL="0" indent="0">
              <a:buNone/>
            </a:pPr>
            <a:r>
              <a:rPr lang="it-IT" dirty="0" err="1"/>
              <a:t>Possible</a:t>
            </a:r>
            <a:r>
              <a:rPr lang="it-IT" dirty="0"/>
              <a:t> </a:t>
            </a:r>
            <a:r>
              <a:rPr lang="it-IT" dirty="0" err="1"/>
              <a:t>conclusion</a:t>
            </a:r>
            <a:r>
              <a:rPr lang="it-IT" dirty="0"/>
              <a:t>: the </a:t>
            </a:r>
            <a:r>
              <a:rPr lang="it-IT" dirty="0" err="1"/>
              <a:t>width</a:t>
            </a:r>
            <a:r>
              <a:rPr lang="it-IT" dirty="0"/>
              <a:t> of the first </a:t>
            </a:r>
            <a:r>
              <a:rPr lang="it-IT" dirty="0" err="1"/>
              <a:t>lobe</a:t>
            </a:r>
            <a:r>
              <a:rPr lang="it-IT" dirty="0"/>
              <a:t> of the cross-</a:t>
            </a:r>
            <a:r>
              <a:rPr lang="it-IT" dirty="0" err="1"/>
              <a:t>correlation</a:t>
            </a:r>
            <a:r>
              <a:rPr lang="it-IT" dirty="0"/>
              <a:t> of </a:t>
            </a:r>
            <a:r>
              <a:rPr lang="it-IT" dirty="0" err="1"/>
              <a:t>Vsampler</a:t>
            </a:r>
            <a:r>
              <a:rPr lang="it-IT" dirty="0"/>
              <a:t> and Vin sets the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length</a:t>
            </a:r>
            <a:r>
              <a:rPr lang="it-IT" dirty="0"/>
              <a:t>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Tried</a:t>
            </a:r>
            <a:r>
              <a:rPr lang="it-IT" dirty="0"/>
              <a:t> to </a:t>
            </a:r>
            <a:r>
              <a:rPr lang="it-IT" dirty="0" err="1"/>
              <a:t>increse</a:t>
            </a:r>
            <a:r>
              <a:rPr lang="it-IT" dirty="0"/>
              <a:t> ∆fin to reduce the cross-</a:t>
            </a:r>
            <a:r>
              <a:rPr lang="it-IT" dirty="0" err="1"/>
              <a:t>correlation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Vin and </a:t>
            </a:r>
            <a:r>
              <a:rPr lang="it-IT" dirty="0" err="1"/>
              <a:t>Vsampler</a:t>
            </a:r>
            <a:r>
              <a:rPr lang="it-IT" dirty="0"/>
              <a:t>, </a:t>
            </a:r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still</a:t>
            </a:r>
            <a:r>
              <a:rPr lang="it-IT" dirty="0"/>
              <a:t> </a:t>
            </a:r>
            <a:r>
              <a:rPr lang="it-IT" dirty="0" err="1"/>
              <a:t>need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>
                <a:sym typeface="Wingdings" pitchFamily="2" charset="2"/>
              </a:rPr>
              <a:t>→ </a:t>
            </a:r>
            <a:r>
              <a:rPr lang="it-IT" b="1" dirty="0"/>
              <a:t>false </a:t>
            </a:r>
            <a:r>
              <a:rPr lang="it-IT" b="1" dirty="0" err="1"/>
              <a:t>conclusion</a:t>
            </a:r>
            <a:endParaRPr lang="it-IT" b="1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br>
              <a:rPr lang="it-IT" dirty="0"/>
            </a:br>
            <a:r>
              <a:rPr lang="it-IT" dirty="0"/>
              <a:t>	</a:t>
            </a:r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A4F79F3-662C-D1C8-C1BA-8BB73A7699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B48AF12-25EE-CDA1-B9E7-4404E72B38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981717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AD7B7-D912-3961-3755-E9305A1E73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D006F2A8-87B8-C848-4680-7C3ABCA1C1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88720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 err="1"/>
              <a:t>Why</a:t>
            </a:r>
            <a:r>
              <a:rPr lang="it-IT" dirty="0"/>
              <a:t> do I </a:t>
            </a:r>
            <a:r>
              <a:rPr lang="it-IT" dirty="0" err="1"/>
              <a:t>need</a:t>
            </a:r>
            <a:r>
              <a:rPr lang="it-IT" dirty="0"/>
              <a:t> </a:t>
            </a:r>
            <a:r>
              <a:rPr lang="it-IT" dirty="0" err="1"/>
              <a:t>such</a:t>
            </a:r>
            <a:r>
              <a:rPr lang="it-IT" dirty="0"/>
              <a:t> a long </a:t>
            </a:r>
            <a:r>
              <a:rPr lang="it-IT" dirty="0" err="1"/>
              <a:t>memory</a:t>
            </a:r>
            <a:r>
              <a:rPr lang="it-IT" dirty="0"/>
              <a:t>?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u="sng" dirty="0"/>
              <a:t>single </a:t>
            </a:r>
            <a:r>
              <a:rPr lang="it-IT" u="sng" dirty="0" err="1"/>
              <a:t>tone</a:t>
            </a:r>
            <a:endParaRPr lang="it-IT" dirty="0"/>
          </a:p>
          <a:p>
            <a:pPr marL="457200" indent="-457200">
              <a:buFont typeface="+mj-lt"/>
              <a:buAutoNum type="arabicPeriod"/>
            </a:pPr>
            <a:r>
              <a:rPr lang="it-IT" dirty="0"/>
              <a:t>Cross-</a:t>
            </a:r>
            <a:r>
              <a:rPr lang="it-IT" dirty="0" err="1"/>
              <a:t>correlation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Vin and </a:t>
            </a:r>
            <a:r>
              <a:rPr lang="it-IT" dirty="0" err="1"/>
              <a:t>Vout</a:t>
            </a:r>
            <a:r>
              <a:rPr lang="it-IT" dirty="0"/>
              <a:t> of the sampler</a:t>
            </a:r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457200" indent="-457200">
              <a:buFont typeface="+mj-lt"/>
              <a:buAutoNum type="arabicPeriod"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With the single </a:t>
            </a:r>
            <a:r>
              <a:rPr lang="it-IT" dirty="0" err="1"/>
              <a:t>tone</a:t>
            </a:r>
            <a:r>
              <a:rPr lang="it-IT" dirty="0"/>
              <a:t>,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seems</a:t>
            </a:r>
            <a:r>
              <a:rPr lang="it-IT" dirty="0"/>
              <a:t>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no </a:t>
            </a:r>
            <a:r>
              <a:rPr lang="it-IT" dirty="0" err="1"/>
              <a:t>dependence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the </a:t>
            </a:r>
            <a:r>
              <a:rPr lang="it-IT" dirty="0" err="1"/>
              <a:t>width</a:t>
            </a:r>
            <a:r>
              <a:rPr lang="it-IT" dirty="0"/>
              <a:t> of the first </a:t>
            </a:r>
            <a:r>
              <a:rPr lang="it-IT" dirty="0" err="1"/>
              <a:t>lobe</a:t>
            </a:r>
            <a:r>
              <a:rPr lang="it-IT" dirty="0"/>
              <a:t> of the cross-</a:t>
            </a:r>
            <a:r>
              <a:rPr lang="it-IT" dirty="0" err="1"/>
              <a:t>correlation</a:t>
            </a:r>
            <a:r>
              <a:rPr lang="it-IT" dirty="0"/>
              <a:t> of </a:t>
            </a:r>
            <a:r>
              <a:rPr lang="it-IT" dirty="0" err="1"/>
              <a:t>Vsampler</a:t>
            </a:r>
            <a:r>
              <a:rPr lang="it-IT" dirty="0"/>
              <a:t> and Vin with the </a:t>
            </a:r>
            <a:r>
              <a:rPr lang="it-IT" dirty="0" err="1"/>
              <a:t>needed</a:t>
            </a:r>
            <a:r>
              <a:rPr lang="it-IT" dirty="0"/>
              <a:t> </a:t>
            </a:r>
            <a:r>
              <a:rPr lang="it-IT" dirty="0" err="1"/>
              <a:t>memory</a:t>
            </a:r>
            <a:br>
              <a:rPr lang="it-IT" dirty="0"/>
            </a:br>
            <a:r>
              <a:rPr lang="it-IT" dirty="0"/>
              <a:t>	</a:t>
            </a:r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457200" indent="-457200">
              <a:buAutoNum type="arabicPeriod"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	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8DE69CB-7704-DBFA-4A09-67355BD20C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CEE7740-D2EA-A48B-3F35-458B27AC2E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CDE870F6-C498-53AA-BF7F-DEB0CF7B9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912" y="1691207"/>
            <a:ext cx="2921092" cy="2220713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AC5F8D30-3CF1-F003-69D7-8E5CCE3553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6054" y="1635031"/>
            <a:ext cx="2859168" cy="2220713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A18C90BC-445E-5CDC-E349-8E2D93A6BF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5222" y="1601310"/>
            <a:ext cx="2974024" cy="2288154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B7CB8983-FC6B-E287-9B49-C34E7AF647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43998" y="1661881"/>
            <a:ext cx="2859168" cy="229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566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F20EBC51-DF72-FB44-4764-0EFB3052D7C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Performance of the sampler with </a:t>
            </a:r>
            <a:r>
              <a:rPr lang="it-IT" dirty="0" err="1"/>
              <a:t>fs_core</a:t>
            </a:r>
            <a:r>
              <a:rPr lang="it-IT" dirty="0"/>
              <a:t> = 1GHz </a:t>
            </a:r>
            <a:br>
              <a:rPr lang="it-IT" dirty="0"/>
            </a:br>
            <a:r>
              <a:rPr lang="it-IT" dirty="0"/>
              <a:t>[The start delay and </a:t>
            </a:r>
            <a:r>
              <a:rPr lang="it-IT" dirty="0" err="1"/>
              <a:t>all</a:t>
            </a:r>
            <a:r>
              <a:rPr lang="it-IT" dirty="0"/>
              <a:t> </a:t>
            </a:r>
            <a:r>
              <a:rPr lang="it-IT" dirty="0" err="1"/>
              <a:t>ctrls</a:t>
            </a:r>
            <a:r>
              <a:rPr lang="it-IT" dirty="0"/>
              <a:t> of loop delay are minimum + the </a:t>
            </a:r>
            <a:r>
              <a:rPr lang="it-IT" dirty="0" err="1"/>
              <a:t>amplification</a:t>
            </a:r>
            <a:r>
              <a:rPr lang="it-IT" dirty="0"/>
              <a:t> </a:t>
            </a:r>
            <a:r>
              <a:rPr lang="it-IT" dirty="0" err="1"/>
              <a:t>phase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300ps (</a:t>
            </a:r>
            <a:r>
              <a:rPr lang="it-IT" dirty="0" err="1"/>
              <a:t>ctrl</a:t>
            </a:r>
            <a:r>
              <a:rPr lang="it-IT" dirty="0"/>
              <a:t> = 3)]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0FF169E2-5015-8D98-1C67-447F932E8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A56638E-3E27-D841-4758-6DDF458ED7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42D0F9D-828F-9C8A-C193-9E5527E001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773C3447-5BA6-B285-B569-D627E1EC1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4515" y="476249"/>
            <a:ext cx="4846211" cy="685800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13517766-3AEA-ACBC-E268-D4AAE39981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601" y="445626"/>
            <a:ext cx="48462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3264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94B80965-B824-9414-AE0F-9A6A33896C0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 err="1"/>
              <a:t>Other</a:t>
            </a:r>
            <a:r>
              <a:rPr lang="it-IT" u="sng" dirty="0"/>
              <a:t> </a:t>
            </a:r>
            <a:r>
              <a:rPr lang="it-IT" u="sng" dirty="0" err="1"/>
              <a:t>problems</a:t>
            </a:r>
            <a:r>
              <a:rPr lang="it-IT" u="sng" dirty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derived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a </a:t>
            </a:r>
            <a:r>
              <a:rPr lang="it-IT" dirty="0" err="1"/>
              <a:t>certain</a:t>
            </a:r>
            <a:r>
              <a:rPr lang="it-IT" dirty="0"/>
              <a:t> frequency </a:t>
            </a:r>
            <a:r>
              <a:rPr lang="it-IT" dirty="0" err="1"/>
              <a:t>cannot</a:t>
            </a:r>
            <a:r>
              <a:rPr lang="it-IT" dirty="0"/>
              <a:t> </a:t>
            </a:r>
            <a:r>
              <a:rPr lang="it-IT" dirty="0" err="1"/>
              <a:t>correct</a:t>
            </a:r>
            <a:r>
              <a:rPr lang="it-IT" dirty="0"/>
              <a:t> the </a:t>
            </a:r>
            <a:r>
              <a:rPr lang="it-IT" dirty="0" err="1"/>
              <a:t>behavior</a:t>
            </a:r>
            <a:r>
              <a:rPr lang="it-IT" dirty="0"/>
              <a:t> of the sampler </a:t>
            </a:r>
            <a:r>
              <a:rPr lang="it-IT" dirty="0" err="1"/>
              <a:t>at</a:t>
            </a:r>
            <a:r>
              <a:rPr lang="it-IT" dirty="0"/>
              <a:t> </a:t>
            </a:r>
            <a:r>
              <a:rPr lang="it-IT" dirty="0" err="1"/>
              <a:t>other</a:t>
            </a:r>
            <a:r>
              <a:rPr lang="it-IT" dirty="0"/>
              <a:t> frequencies</a:t>
            </a:r>
          </a:p>
          <a:p>
            <a:pPr marL="457200" indent="-457200">
              <a:buFont typeface="+mj-lt"/>
              <a:buAutoNum type="arabicPeriod"/>
            </a:pP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derived</a:t>
            </a:r>
            <a:r>
              <a:rPr lang="it-IT" dirty="0"/>
              <a:t> with a PRBS </a:t>
            </a:r>
            <a:r>
              <a:rPr lang="it-IT" dirty="0" err="1"/>
              <a:t>at</a:t>
            </a:r>
            <a:r>
              <a:rPr lang="it-IT" dirty="0"/>
              <a:t> the input of the sampler </a:t>
            </a:r>
            <a:r>
              <a:rPr lang="it-IT" dirty="0" err="1"/>
              <a:t>cannot</a:t>
            </a:r>
            <a:r>
              <a:rPr lang="it-IT" dirty="0"/>
              <a:t> </a:t>
            </a:r>
            <a:r>
              <a:rPr lang="it-IT" dirty="0" err="1"/>
              <a:t>correct</a:t>
            </a:r>
            <a:r>
              <a:rPr lang="it-IT" dirty="0"/>
              <a:t> the </a:t>
            </a:r>
            <a:r>
              <a:rPr lang="it-IT" dirty="0" err="1"/>
              <a:t>behavior</a:t>
            </a:r>
            <a:r>
              <a:rPr lang="it-IT" dirty="0"/>
              <a:t> of the sampler </a:t>
            </a:r>
            <a:r>
              <a:rPr lang="it-IT" dirty="0" err="1"/>
              <a:t>when</a:t>
            </a:r>
            <a:r>
              <a:rPr lang="it-IT" dirty="0"/>
              <a:t> a </a:t>
            </a:r>
            <a:r>
              <a:rPr lang="it-IT" dirty="0" err="1"/>
              <a:t>sinusoidal</a:t>
            </a:r>
            <a:r>
              <a:rPr lang="it-IT" dirty="0"/>
              <a:t> input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applied</a:t>
            </a:r>
            <a:endParaRPr lang="it-IT" dirty="0"/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F00E9474-9B18-5841-2908-05BE1E14E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9FE5720B-41B9-8D95-E538-9A61A42B23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9863F788-6DC8-8A3D-6D72-8C7087595C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33702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05BB04-765F-64F5-5C21-9E446AA76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FB08C-BE7C-479B-70C2-43EB445818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12598-8366-A80D-EF0E-FD251CE86D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08127E2-11A3-6033-1925-C0879852E81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0591108" cy="5113337"/>
          </a:xfrm>
        </p:spPr>
        <p:txBody>
          <a:bodyPr/>
          <a:lstStyle/>
          <a:p>
            <a:pPr marL="0" indent="0">
              <a:buNone/>
            </a:pPr>
            <a:r>
              <a:rPr lang="it-IT" u="sng" dirty="0"/>
              <a:t>Virtuoso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  <a:r>
              <a:rPr lang="it-IT" dirty="0"/>
              <a:t> 						</a:t>
            </a:r>
            <a:r>
              <a:rPr lang="it-IT" dirty="0" err="1"/>
              <a:t>V</a:t>
            </a:r>
            <a:r>
              <a:rPr lang="it-IT" baseline="-25000" dirty="0" err="1"/>
              <a:t>sampler</a:t>
            </a:r>
            <a:r>
              <a:rPr lang="it-IT" baseline="-25000" dirty="0"/>
              <a:t>					       </a:t>
            </a:r>
            <a:r>
              <a:rPr lang="it-IT" dirty="0" err="1"/>
              <a:t>D</a:t>
            </a:r>
            <a:r>
              <a:rPr lang="it-IT" baseline="-25000" dirty="0" err="1"/>
              <a:t>out</a:t>
            </a: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u="sng" dirty="0"/>
          </a:p>
          <a:p>
            <a:pPr marL="0" indent="0">
              <a:buNone/>
            </a:pPr>
            <a:r>
              <a:rPr lang="it-IT" u="sng" dirty="0"/>
              <a:t>Digital </a:t>
            </a:r>
            <a:r>
              <a:rPr lang="it-IT" u="sng" dirty="0" err="1"/>
              <a:t>calibration</a:t>
            </a:r>
            <a:r>
              <a:rPr lang="it-IT" u="sng" dirty="0"/>
              <a:t> </a:t>
            </a:r>
            <a:endParaRPr lang="it-IT" dirty="0"/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</a:p>
          <a:p>
            <a:pPr marL="0" indent="0">
              <a:buNone/>
            </a:pPr>
            <a:r>
              <a:rPr lang="it-IT" dirty="0"/>
              <a:t>						h</a:t>
            </a:r>
            <a:r>
              <a:rPr lang="it-IT" baseline="-25000" dirty="0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</a:t>
            </a:r>
            <a:r>
              <a:rPr lang="it-IT" sz="1600" dirty="0"/>
              <a:t>[</a:t>
            </a:r>
            <a:r>
              <a:rPr lang="it-IT" sz="1600" dirty="0" err="1"/>
              <a:t>coefficients</a:t>
            </a:r>
            <a:r>
              <a:rPr lang="it-IT" sz="1600" dirty="0"/>
              <a:t> of the Volterra </a:t>
            </a:r>
            <a:r>
              <a:rPr lang="it-IT" sz="1600" dirty="0" err="1"/>
              <a:t>series</a:t>
            </a:r>
            <a:r>
              <a:rPr lang="it-IT" sz="1600" dirty="0"/>
              <a:t> </a:t>
            </a:r>
            <a:r>
              <a:rPr lang="it-IT" sz="1600" dirty="0" err="1"/>
              <a:t>miming</a:t>
            </a:r>
            <a:r>
              <a:rPr lang="it-IT" sz="1600" dirty="0"/>
              <a:t> the </a:t>
            </a:r>
            <a:r>
              <a:rPr lang="it-IT" sz="1600" dirty="0" err="1"/>
              <a:t>behavior</a:t>
            </a:r>
            <a:r>
              <a:rPr lang="it-IT" sz="1600" dirty="0"/>
              <a:t> fo the sampler]</a:t>
            </a:r>
            <a:br>
              <a:rPr lang="it-IT" dirty="0"/>
            </a:br>
            <a:r>
              <a:rPr lang="it-IT" dirty="0" err="1"/>
              <a:t>D</a:t>
            </a:r>
            <a:r>
              <a:rPr lang="it-IT" baseline="-25000" dirty="0" err="1"/>
              <a:t>out</a:t>
            </a:r>
            <a:endParaRPr lang="it-IT" baseline="-25000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h</a:t>
            </a:r>
            <a:r>
              <a:rPr lang="it-IT" baseline="-25000" dirty="0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		  	</a:t>
            </a:r>
            <a:br>
              <a:rPr lang="it-IT" dirty="0"/>
            </a:br>
            <a:r>
              <a:rPr lang="it-IT" sz="1400" dirty="0"/>
              <a:t>	</a:t>
            </a:r>
            <a:r>
              <a:rPr lang="it-IT" dirty="0"/>
              <a:t>						     </a:t>
            </a:r>
            <a:r>
              <a:rPr lang="it-IT" dirty="0" err="1"/>
              <a:t>D</a:t>
            </a:r>
            <a:r>
              <a:rPr lang="it-IT" baseline="-25000" dirty="0" err="1"/>
              <a:t>out,cal</a:t>
            </a:r>
            <a:endParaRPr lang="it-IT" dirty="0"/>
          </a:p>
          <a:p>
            <a:pPr marL="0" indent="0">
              <a:buNone/>
            </a:pPr>
            <a:r>
              <a:rPr lang="it-IT" dirty="0" err="1"/>
              <a:t>D</a:t>
            </a:r>
            <a:r>
              <a:rPr lang="it-IT" baseline="-25000" dirty="0" err="1"/>
              <a:t>out</a:t>
            </a:r>
            <a:endParaRPr lang="it-IT" baseline="-25000" dirty="0"/>
          </a:p>
          <a:p>
            <a:pPr marL="0" indent="0">
              <a:buNone/>
            </a:pPr>
            <a:endParaRPr lang="it-IT" baseline="-25000" dirty="0"/>
          </a:p>
        </p:txBody>
      </p:sp>
      <p:cxnSp>
        <p:nvCxnSpPr>
          <p:cNvPr id="7" name="Connettore 2 6">
            <a:extLst>
              <a:ext uri="{FF2B5EF4-FFF2-40B4-BE49-F238E27FC236}">
                <a16:creationId xmlns:a16="http://schemas.microsoft.com/office/drawing/2014/main" id="{5F9F80F6-A5F2-BCAF-042B-CD52C4EAC0E5}"/>
              </a:ext>
            </a:extLst>
          </p:cNvPr>
          <p:cNvCxnSpPr/>
          <p:nvPr/>
        </p:nvCxnSpPr>
        <p:spPr>
          <a:xfrm>
            <a:off x="738554" y="21922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ttangolo 7">
            <a:extLst>
              <a:ext uri="{FF2B5EF4-FFF2-40B4-BE49-F238E27FC236}">
                <a16:creationId xmlns:a16="http://schemas.microsoft.com/office/drawing/2014/main" id="{8A37E797-8D1D-C8A8-07D8-D452D5E05A85}"/>
              </a:ext>
            </a:extLst>
          </p:cNvPr>
          <p:cNvSpPr/>
          <p:nvPr/>
        </p:nvSpPr>
        <p:spPr bwMode="auto">
          <a:xfrm>
            <a:off x="1512277" y="1740877"/>
            <a:ext cx="1383323" cy="90267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DBDF73A8-C44F-C789-B8CB-60F33E9104C3}"/>
              </a:ext>
            </a:extLst>
          </p:cNvPr>
          <p:cNvCxnSpPr/>
          <p:nvPr/>
        </p:nvCxnSpPr>
        <p:spPr>
          <a:xfrm>
            <a:off x="2965939" y="21922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9">
            <a:extLst>
              <a:ext uri="{FF2B5EF4-FFF2-40B4-BE49-F238E27FC236}">
                <a16:creationId xmlns:a16="http://schemas.microsoft.com/office/drawing/2014/main" id="{C81DC71E-0A84-6370-4CF3-410AC0C515D6}"/>
              </a:ext>
            </a:extLst>
          </p:cNvPr>
          <p:cNvCxnSpPr/>
          <p:nvPr/>
        </p:nvCxnSpPr>
        <p:spPr>
          <a:xfrm>
            <a:off x="4592585" y="21922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5F2E8FC7-2FF9-9AE0-05EC-0A317156F892}"/>
              </a:ext>
            </a:extLst>
          </p:cNvPr>
          <p:cNvCxnSpPr/>
          <p:nvPr/>
        </p:nvCxnSpPr>
        <p:spPr>
          <a:xfrm>
            <a:off x="6819970" y="21922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B0F4DF83-E978-AE6E-DBF7-96655C113599}"/>
              </a:ext>
            </a:extLst>
          </p:cNvPr>
          <p:cNvCxnSpPr/>
          <p:nvPr/>
        </p:nvCxnSpPr>
        <p:spPr>
          <a:xfrm>
            <a:off x="738554" y="370962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ttangolo 13">
            <a:extLst>
              <a:ext uri="{FF2B5EF4-FFF2-40B4-BE49-F238E27FC236}">
                <a16:creationId xmlns:a16="http://schemas.microsoft.com/office/drawing/2014/main" id="{097ACFFA-BFB2-DE2C-6D8B-A53FBB05ED67}"/>
              </a:ext>
            </a:extLst>
          </p:cNvPr>
          <p:cNvSpPr/>
          <p:nvPr/>
        </p:nvSpPr>
        <p:spPr bwMode="auto">
          <a:xfrm>
            <a:off x="1512277" y="352865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859667F9-7E39-5258-9049-FE7BF5C35466}"/>
              </a:ext>
            </a:extLst>
          </p:cNvPr>
          <p:cNvCxnSpPr/>
          <p:nvPr/>
        </p:nvCxnSpPr>
        <p:spPr>
          <a:xfrm>
            <a:off x="2965939" y="406131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>
            <a:extLst>
              <a:ext uri="{FF2B5EF4-FFF2-40B4-BE49-F238E27FC236}">
                <a16:creationId xmlns:a16="http://schemas.microsoft.com/office/drawing/2014/main" id="{A6678413-E337-CF04-E605-24ACEEBDE921}"/>
              </a:ext>
            </a:extLst>
          </p:cNvPr>
          <p:cNvCxnSpPr/>
          <p:nvPr/>
        </p:nvCxnSpPr>
        <p:spPr>
          <a:xfrm>
            <a:off x="738554" y="43661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D941C4F6-E67B-3B83-2BE7-06CF89062EFF}"/>
              </a:ext>
            </a:extLst>
          </p:cNvPr>
          <p:cNvCxnSpPr>
            <a:cxnSpLocks/>
          </p:cNvCxnSpPr>
          <p:nvPr/>
        </p:nvCxnSpPr>
        <p:spPr>
          <a:xfrm>
            <a:off x="906087" y="5105344"/>
            <a:ext cx="535851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0A1B43CF-04AC-2F13-CE89-2491B27E13E8}"/>
              </a:ext>
            </a:extLst>
          </p:cNvPr>
          <p:cNvSpPr/>
          <p:nvPr/>
        </p:nvSpPr>
        <p:spPr bwMode="auto">
          <a:xfrm>
            <a:off x="1512277" y="4924370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r>
              <a:rPr lang="it-IT" sz="1600" dirty="0"/>
              <a:t>inverse of Volterra </a:t>
            </a:r>
            <a:r>
              <a:rPr lang="it-IT" sz="1600" dirty="0" err="1"/>
              <a:t>series</a:t>
            </a:r>
            <a:r>
              <a:rPr lang="it-IT" sz="1600" dirty="0"/>
              <a:t> </a:t>
            </a:r>
            <a:r>
              <a:rPr lang="it-IT" sz="1600" dirty="0" err="1"/>
              <a:t>miming</a:t>
            </a:r>
            <a:r>
              <a:rPr lang="it-IT" sz="1600" dirty="0"/>
              <a:t> the sampler</a:t>
            </a: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6" name="Connettore 2 25">
            <a:extLst>
              <a:ext uri="{FF2B5EF4-FFF2-40B4-BE49-F238E27FC236}">
                <a16:creationId xmlns:a16="http://schemas.microsoft.com/office/drawing/2014/main" id="{7364DD07-2845-0CE1-84FE-28066D2D0982}"/>
              </a:ext>
            </a:extLst>
          </p:cNvPr>
          <p:cNvCxnSpPr/>
          <p:nvPr/>
        </p:nvCxnSpPr>
        <p:spPr>
          <a:xfrm>
            <a:off x="3925517" y="545703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2 26">
            <a:extLst>
              <a:ext uri="{FF2B5EF4-FFF2-40B4-BE49-F238E27FC236}">
                <a16:creationId xmlns:a16="http://schemas.microsoft.com/office/drawing/2014/main" id="{E822B7CB-01B4-C3B5-8D53-9790C6933EAD}"/>
              </a:ext>
            </a:extLst>
          </p:cNvPr>
          <p:cNvCxnSpPr/>
          <p:nvPr/>
        </p:nvCxnSpPr>
        <p:spPr>
          <a:xfrm>
            <a:off x="738554" y="576183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o 1">
            <a:extLst>
              <a:ext uri="{FF2B5EF4-FFF2-40B4-BE49-F238E27FC236}">
                <a16:creationId xmlns:a16="http://schemas.microsoft.com/office/drawing/2014/main" id="{15AFCCEF-6450-CE67-5F3B-A9C2319BCCD9}"/>
              </a:ext>
            </a:extLst>
          </p:cNvPr>
          <p:cNvGrpSpPr/>
          <p:nvPr/>
        </p:nvGrpSpPr>
        <p:grpSpPr>
          <a:xfrm flipH="1">
            <a:off x="5295969" y="1657662"/>
            <a:ext cx="1524001" cy="1026834"/>
            <a:chOff x="5765471" y="4061359"/>
            <a:chExt cx="1674421" cy="1092530"/>
          </a:xfrm>
        </p:grpSpPr>
        <p:cxnSp>
          <p:nvCxnSpPr>
            <p:cNvPr id="17" name="Connettore 1 16">
              <a:extLst>
                <a:ext uri="{FF2B5EF4-FFF2-40B4-BE49-F238E27FC236}">
                  <a16:creationId xmlns:a16="http://schemas.microsoft.com/office/drawing/2014/main" id="{BFD95135-3241-28C9-D690-5BE058DF768F}"/>
                </a:ext>
              </a:extLst>
            </p:cNvPr>
            <p:cNvCxnSpPr/>
            <p:nvPr/>
          </p:nvCxnSpPr>
          <p:spPr>
            <a:xfrm>
              <a:off x="5765471" y="4061359"/>
              <a:ext cx="0" cy="1092530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ttore 1 17">
              <a:extLst>
                <a:ext uri="{FF2B5EF4-FFF2-40B4-BE49-F238E27FC236}">
                  <a16:creationId xmlns:a16="http://schemas.microsoft.com/office/drawing/2014/main" id="{B1F65EB1-315C-E82C-5E34-DED79B748BD4}"/>
                </a:ext>
              </a:extLst>
            </p:cNvPr>
            <p:cNvCxnSpPr/>
            <p:nvPr/>
          </p:nvCxnSpPr>
          <p:spPr>
            <a:xfrm>
              <a:off x="5765471" y="4061360"/>
              <a:ext cx="1258784" cy="0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ttore 1 18">
              <a:extLst>
                <a:ext uri="{FF2B5EF4-FFF2-40B4-BE49-F238E27FC236}">
                  <a16:creationId xmlns:a16="http://schemas.microsoft.com/office/drawing/2014/main" id="{AD48BE71-2791-AAAF-C60A-609547326FCD}"/>
                </a:ext>
              </a:extLst>
            </p:cNvPr>
            <p:cNvCxnSpPr/>
            <p:nvPr/>
          </p:nvCxnSpPr>
          <p:spPr>
            <a:xfrm>
              <a:off x="5765471" y="5153889"/>
              <a:ext cx="1258784" cy="0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ttore 1 19">
              <a:extLst>
                <a:ext uri="{FF2B5EF4-FFF2-40B4-BE49-F238E27FC236}">
                  <a16:creationId xmlns:a16="http://schemas.microsoft.com/office/drawing/2014/main" id="{42206C3E-0C7A-9B5D-32F2-17AE29CDA32A}"/>
                </a:ext>
              </a:extLst>
            </p:cNvPr>
            <p:cNvCxnSpPr>
              <a:cxnSpLocks/>
            </p:cNvCxnSpPr>
            <p:nvPr/>
          </p:nvCxnSpPr>
          <p:spPr>
            <a:xfrm>
              <a:off x="7024255" y="4061359"/>
              <a:ext cx="415637" cy="564077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ttore 1 20">
              <a:extLst>
                <a:ext uri="{FF2B5EF4-FFF2-40B4-BE49-F238E27FC236}">
                  <a16:creationId xmlns:a16="http://schemas.microsoft.com/office/drawing/2014/main" id="{825371B4-418B-1B0A-C187-C0902CB04499}"/>
                </a:ext>
              </a:extLst>
            </p:cNvPr>
            <p:cNvCxnSpPr/>
            <p:nvPr/>
          </p:nvCxnSpPr>
          <p:spPr>
            <a:xfrm flipV="1">
              <a:off x="7024255" y="4625437"/>
              <a:ext cx="415637" cy="528452"/>
            </a:xfrm>
            <a:prstGeom prst="line">
              <a:avLst/>
            </a:prstGeom>
            <a:ln w="9525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2A988D24-5539-D7CD-25C8-8038A5C1E239}"/>
              </a:ext>
            </a:extLst>
          </p:cNvPr>
          <p:cNvGrpSpPr/>
          <p:nvPr/>
        </p:nvGrpSpPr>
        <p:grpSpPr>
          <a:xfrm>
            <a:off x="1786636" y="2095608"/>
            <a:ext cx="846935" cy="172192"/>
            <a:chOff x="2881917" y="2268187"/>
            <a:chExt cx="846935" cy="172192"/>
          </a:xfrm>
        </p:grpSpPr>
        <p:cxnSp>
          <p:nvCxnSpPr>
            <p:cNvPr id="23" name="Connettore 1 22">
              <a:extLst>
                <a:ext uri="{FF2B5EF4-FFF2-40B4-BE49-F238E27FC236}">
                  <a16:creationId xmlns:a16="http://schemas.microsoft.com/office/drawing/2014/main" id="{F27FFCFC-1AB5-0ACA-995D-73C14EC640F1}"/>
                </a:ext>
              </a:extLst>
            </p:cNvPr>
            <p:cNvCxnSpPr/>
            <p:nvPr/>
          </p:nvCxnSpPr>
          <p:spPr>
            <a:xfrm flipV="1">
              <a:off x="3178800" y="2268187"/>
              <a:ext cx="205668" cy="172192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ttore 1 27">
              <a:extLst>
                <a:ext uri="{FF2B5EF4-FFF2-40B4-BE49-F238E27FC236}">
                  <a16:creationId xmlns:a16="http://schemas.microsoft.com/office/drawing/2014/main" id="{D57C77C8-9E77-BC70-FCB2-20062C52DAF2}"/>
                </a:ext>
              </a:extLst>
            </p:cNvPr>
            <p:cNvCxnSpPr/>
            <p:nvPr/>
          </p:nvCxnSpPr>
          <p:spPr>
            <a:xfrm>
              <a:off x="3431969" y="2440379"/>
              <a:ext cx="296883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ttore 1 28">
              <a:extLst>
                <a:ext uri="{FF2B5EF4-FFF2-40B4-BE49-F238E27FC236}">
                  <a16:creationId xmlns:a16="http://schemas.microsoft.com/office/drawing/2014/main" id="{EBB250BF-3CD4-DF27-7844-CBB4AE329AA0}"/>
                </a:ext>
              </a:extLst>
            </p:cNvPr>
            <p:cNvCxnSpPr/>
            <p:nvPr/>
          </p:nvCxnSpPr>
          <p:spPr>
            <a:xfrm>
              <a:off x="2881917" y="2440379"/>
              <a:ext cx="296883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98A1475-F274-AA64-AB81-BB3EFFD4194E}"/>
              </a:ext>
            </a:extLst>
          </p:cNvPr>
          <p:cNvSpPr txBox="1"/>
          <p:nvPr/>
        </p:nvSpPr>
        <p:spPr bwMode="auto">
          <a:xfrm flipH="1">
            <a:off x="5879657" y="2017121"/>
            <a:ext cx="73128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800" b="1" kern="0" baseline="0" dirty="0">
                <a:latin typeface="+mn-lt"/>
                <a:ea typeface="+mn-ea"/>
                <a:cs typeface="+mn-cs"/>
              </a:rPr>
              <a:t>ADC</a:t>
            </a:r>
          </a:p>
        </p:txBody>
      </p:sp>
    </p:spTree>
    <p:extLst>
      <p:ext uri="{BB962C8B-B14F-4D97-AF65-F5344CB8AC3E}">
        <p14:creationId xmlns:p14="http://schemas.microsoft.com/office/powerpoint/2010/main" val="2750387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5EEBC9E0-E69A-292B-4504-E602B140F3E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u="sng" dirty="0" err="1"/>
              <a:t>Problem</a:t>
            </a:r>
            <a:r>
              <a:rPr lang="it-IT" dirty="0"/>
              <a:t> </a:t>
            </a:r>
            <a:r>
              <a:rPr lang="it-IT" dirty="0" err="1"/>
              <a:t>Inversion</a:t>
            </a:r>
            <a:r>
              <a:rPr lang="it-IT" dirty="0"/>
              <a:t> of the Volterra Series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Starting</a:t>
            </a:r>
            <a:r>
              <a:rPr lang="it-IT" dirty="0"/>
              <a:t> from the tandem </a:t>
            </a:r>
            <a:r>
              <a:rPr lang="it-IT" dirty="0" err="1"/>
              <a:t>conncections</a:t>
            </a:r>
            <a:r>
              <a:rPr lang="it-IT" dirty="0"/>
              <a:t> of 2 non-linear systems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To derive K </a:t>
            </a:r>
            <a:r>
              <a:rPr lang="it-IT" dirty="0" err="1"/>
              <a:t>as</a:t>
            </a:r>
            <a:r>
              <a:rPr lang="it-IT" dirty="0"/>
              <a:t> the inverse of H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to impose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S</a:t>
            </a:r>
            <a:r>
              <a:rPr lang="it-IT" baseline="-25000" dirty="0"/>
              <a:t>1</a:t>
            </a:r>
            <a:r>
              <a:rPr lang="it-IT" dirty="0"/>
              <a:t>[x(</a:t>
            </a:r>
            <a:r>
              <a:rPr lang="it-IT" dirty="0" err="1"/>
              <a:t>n</a:t>
            </a:r>
            <a:r>
              <a:rPr lang="it-IT" dirty="0"/>
              <a:t>)] = [s</a:t>
            </a:r>
            <a:r>
              <a:rPr lang="it-IT" baseline="-25000" dirty="0"/>
              <a:t>1</a:t>
            </a:r>
            <a:r>
              <a:rPr lang="it-IT" dirty="0"/>
              <a:t>(0) + s</a:t>
            </a:r>
            <a:r>
              <a:rPr lang="it-IT" baseline="-25000" dirty="0"/>
              <a:t>1</a:t>
            </a:r>
            <a:r>
              <a:rPr lang="it-IT" dirty="0"/>
              <a:t>(1)*z</a:t>
            </a:r>
            <a:r>
              <a:rPr lang="it-IT" baseline="30000" dirty="0"/>
              <a:t>-1</a:t>
            </a:r>
            <a:r>
              <a:rPr lang="it-IT" dirty="0"/>
              <a:t> + … + s</a:t>
            </a:r>
            <a:r>
              <a:rPr lang="it-IT" baseline="-25000" dirty="0"/>
              <a:t>1</a:t>
            </a:r>
            <a:r>
              <a:rPr lang="it-IT" dirty="0"/>
              <a:t>(m)*</a:t>
            </a:r>
            <a:r>
              <a:rPr lang="it-IT" dirty="0" err="1"/>
              <a:t>z</a:t>
            </a:r>
            <a:r>
              <a:rPr lang="it-IT" baseline="30000" dirty="0"/>
              <a:t>-m</a:t>
            </a:r>
            <a:r>
              <a:rPr lang="it-IT" dirty="0"/>
              <a:t>]*x(</a:t>
            </a:r>
            <a:r>
              <a:rPr lang="it-IT" dirty="0" err="1"/>
              <a:t>z</a:t>
            </a:r>
            <a:r>
              <a:rPr lang="it-IT" dirty="0"/>
              <a:t>)</a:t>
            </a:r>
          </a:p>
          <a:p>
            <a:pPr marL="0" indent="0">
              <a:buNone/>
            </a:pPr>
            <a:r>
              <a:rPr lang="it-IT" dirty="0"/>
              <a:t>S</a:t>
            </a:r>
            <a:r>
              <a:rPr lang="it-IT" baseline="-25000" dirty="0"/>
              <a:t>2</a:t>
            </a:r>
            <a:r>
              <a:rPr lang="it-IT" dirty="0"/>
              <a:t>[x(</a:t>
            </a:r>
            <a:r>
              <a:rPr lang="it-IT" dirty="0" err="1"/>
              <a:t>n</a:t>
            </a:r>
            <a:r>
              <a:rPr lang="it-IT" dirty="0"/>
              <a:t>)] = s</a:t>
            </a:r>
            <a:r>
              <a:rPr lang="it-IT" baseline="-25000" dirty="0"/>
              <a:t>2</a:t>
            </a:r>
            <a:r>
              <a:rPr lang="it-IT" dirty="0"/>
              <a:t>(0,0)*</a:t>
            </a:r>
            <a:r>
              <a:rPr lang="it-IT" dirty="0" err="1"/>
              <a:t>Z</a:t>
            </a:r>
            <a:r>
              <a:rPr lang="it-IT" dirty="0"/>
              <a:t>{x</a:t>
            </a:r>
            <a:r>
              <a:rPr lang="it-IT" baseline="30000" dirty="0"/>
              <a:t>2</a:t>
            </a:r>
            <a:r>
              <a:rPr lang="it-IT" dirty="0"/>
              <a:t>(</a:t>
            </a:r>
            <a:r>
              <a:rPr lang="it-IT" dirty="0" err="1"/>
              <a:t>n</a:t>
            </a:r>
            <a:r>
              <a:rPr lang="it-IT" dirty="0"/>
              <a:t>)} + … + s</a:t>
            </a:r>
            <a:r>
              <a:rPr lang="it-IT" baseline="-25000" dirty="0"/>
              <a:t>2</a:t>
            </a:r>
            <a:r>
              <a:rPr lang="it-IT" dirty="0"/>
              <a:t>(</a:t>
            </a:r>
            <a:r>
              <a:rPr lang="it-IT" dirty="0" err="1"/>
              <a:t>m,m</a:t>
            </a:r>
            <a:r>
              <a:rPr lang="it-IT" dirty="0"/>
              <a:t>)*</a:t>
            </a:r>
            <a:r>
              <a:rPr lang="it-IT" dirty="0" err="1"/>
              <a:t>Z</a:t>
            </a:r>
            <a:r>
              <a:rPr lang="it-IT" dirty="0"/>
              <a:t>{x</a:t>
            </a:r>
            <a:r>
              <a:rPr lang="it-IT" baseline="30000" dirty="0"/>
              <a:t>2</a:t>
            </a:r>
            <a:r>
              <a:rPr lang="it-IT" dirty="0"/>
              <a:t>(</a:t>
            </a:r>
            <a:r>
              <a:rPr lang="it-IT" dirty="0" err="1"/>
              <a:t>n</a:t>
            </a:r>
            <a:r>
              <a:rPr lang="it-IT" dirty="0"/>
              <a:t>-m)} + [s</a:t>
            </a:r>
            <a:r>
              <a:rPr lang="it-IT" baseline="-25000" dirty="0"/>
              <a:t>2</a:t>
            </a:r>
            <a:r>
              <a:rPr lang="it-IT" dirty="0"/>
              <a:t>(0,1) + s</a:t>
            </a:r>
            <a:r>
              <a:rPr lang="it-IT" baseline="-25000" dirty="0"/>
              <a:t>2</a:t>
            </a:r>
            <a:r>
              <a:rPr lang="it-IT" dirty="0"/>
              <a:t>(1,0)]*</a:t>
            </a:r>
            <a:r>
              <a:rPr lang="it-IT" dirty="0" err="1"/>
              <a:t>Z</a:t>
            </a:r>
            <a:r>
              <a:rPr lang="it-IT" dirty="0"/>
              <a:t>{x(</a:t>
            </a:r>
            <a:r>
              <a:rPr lang="it-IT" dirty="0" err="1"/>
              <a:t>n</a:t>
            </a:r>
            <a:r>
              <a:rPr lang="it-IT" dirty="0"/>
              <a:t>)x(n-1)} + … +  </a:t>
            </a:r>
          </a:p>
          <a:p>
            <a:pPr marL="0" indent="0">
              <a:buNone/>
            </a:pPr>
            <a:r>
              <a:rPr lang="it-IT" dirty="0"/>
              <a:t> [s2(0,m) + s2(m,0)]*</a:t>
            </a:r>
            <a:r>
              <a:rPr lang="it-IT" dirty="0" err="1"/>
              <a:t>Z</a:t>
            </a:r>
            <a:r>
              <a:rPr lang="it-IT" dirty="0"/>
              <a:t>{x(</a:t>
            </a:r>
            <a:r>
              <a:rPr lang="it-IT" dirty="0" err="1"/>
              <a:t>n</a:t>
            </a:r>
            <a:r>
              <a:rPr lang="it-IT" dirty="0"/>
              <a:t>)x(</a:t>
            </a:r>
            <a:r>
              <a:rPr lang="it-IT" dirty="0" err="1"/>
              <a:t>n</a:t>
            </a:r>
            <a:r>
              <a:rPr lang="it-IT" dirty="0"/>
              <a:t>-m)} + … + [s2(</a:t>
            </a:r>
            <a:r>
              <a:rPr lang="it-IT" dirty="0" err="1"/>
              <a:t>i,j</a:t>
            </a:r>
            <a:r>
              <a:rPr lang="it-IT" dirty="0"/>
              <a:t>)  +s2(</a:t>
            </a:r>
            <a:r>
              <a:rPr lang="it-IT" dirty="0" err="1"/>
              <a:t>j,i</a:t>
            </a:r>
            <a:r>
              <a:rPr lang="it-IT" dirty="0"/>
              <a:t>)]* </a:t>
            </a:r>
            <a:r>
              <a:rPr lang="it-IT" dirty="0" err="1"/>
              <a:t>Z</a:t>
            </a:r>
            <a:r>
              <a:rPr lang="it-IT" dirty="0"/>
              <a:t>{x(</a:t>
            </a:r>
            <a:r>
              <a:rPr lang="it-IT" dirty="0" err="1"/>
              <a:t>n</a:t>
            </a:r>
            <a:r>
              <a:rPr lang="it-IT" dirty="0"/>
              <a:t>-i)x(</a:t>
            </a:r>
            <a:r>
              <a:rPr lang="it-IT" dirty="0" err="1"/>
              <a:t>n-j</a:t>
            </a:r>
            <a:r>
              <a:rPr lang="it-IT" dirty="0"/>
              <a:t>)} 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4AFCB480-B7BB-47DF-095A-EC9A9210D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3E9EB41-321A-18E2-343C-C0B995665F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1B136C0-7751-158A-1055-FDC929D46B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B66DD6B-4D82-AC9D-7D67-620B539A24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2114"/>
          <a:stretch/>
        </p:blipFill>
        <p:spPr>
          <a:xfrm>
            <a:off x="722700" y="2397209"/>
            <a:ext cx="5372100" cy="58625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DB9E18A3-482C-05D0-BB1F-BF2C7CB3B1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997" y="2983468"/>
            <a:ext cx="1701800" cy="5207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1DBDFD57-977A-78CB-1FFE-41E730334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0139" y="3504168"/>
            <a:ext cx="11684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44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83F30-9AA5-BAA8-ED3F-9913C544A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1BCEE29F-79A9-3ACF-7DCF-4710F180BBF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Q</a:t>
            </a:r>
            <a:r>
              <a:rPr lang="it-IT" baseline="-25000" dirty="0"/>
              <a:t>1</a:t>
            </a:r>
            <a:r>
              <a:rPr lang="it-IT" dirty="0"/>
              <a:t>[x(</a:t>
            </a:r>
            <a:r>
              <a:rPr lang="it-IT" dirty="0" err="1"/>
              <a:t>n</a:t>
            </a:r>
            <a:r>
              <a:rPr lang="it-IT" dirty="0"/>
              <a:t>)] = Q</a:t>
            </a:r>
            <a:r>
              <a:rPr lang="it-IT" baseline="-25000" dirty="0"/>
              <a:t>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x(</a:t>
            </a:r>
            <a:r>
              <a:rPr lang="it-IT" dirty="0" err="1"/>
              <a:t>z</a:t>
            </a:r>
            <a:r>
              <a:rPr lang="it-IT" dirty="0"/>
              <a:t>) = H</a:t>
            </a:r>
            <a:r>
              <a:rPr lang="it-IT" baseline="-25000" dirty="0"/>
              <a:t>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K</a:t>
            </a:r>
            <a:r>
              <a:rPr lang="it-IT" baseline="-25000" dirty="0"/>
              <a:t>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x(</a:t>
            </a:r>
            <a:r>
              <a:rPr lang="it-IT" dirty="0" err="1"/>
              <a:t>z</a:t>
            </a:r>
            <a:r>
              <a:rPr lang="it-IT" dirty="0"/>
              <a:t>) = x(</a:t>
            </a:r>
            <a:r>
              <a:rPr lang="it-IT" dirty="0" err="1"/>
              <a:t>z</a:t>
            </a:r>
            <a:r>
              <a:rPr lang="it-IT" dirty="0"/>
              <a:t>)  </a:t>
            </a:r>
            <a:r>
              <a:rPr lang="it-IT" dirty="0">
                <a:sym typeface="Wingdings" pitchFamily="2" charset="2"/>
              </a:rPr>
              <a:t>      K</a:t>
            </a:r>
            <a:r>
              <a:rPr lang="it-IT" baseline="-25000" dirty="0">
                <a:sym typeface="Wingdings" pitchFamily="2" charset="2"/>
              </a:rPr>
              <a:t>1</a:t>
            </a:r>
            <a:r>
              <a:rPr lang="it-IT" dirty="0">
                <a:sym typeface="Wingdings" pitchFamily="2" charset="2"/>
              </a:rPr>
              <a:t>(</a:t>
            </a:r>
            <a:r>
              <a:rPr lang="it-IT" dirty="0" err="1">
                <a:sym typeface="Wingdings" pitchFamily="2" charset="2"/>
              </a:rPr>
              <a:t>z</a:t>
            </a:r>
            <a:r>
              <a:rPr lang="it-IT" dirty="0">
                <a:sym typeface="Wingdings" pitchFamily="2" charset="2"/>
              </a:rPr>
              <a:t>) = 1/H</a:t>
            </a:r>
            <a:r>
              <a:rPr lang="it-IT" baseline="-25000" dirty="0">
                <a:sym typeface="Wingdings" pitchFamily="2" charset="2"/>
              </a:rPr>
              <a:t>1</a:t>
            </a:r>
            <a:r>
              <a:rPr lang="it-IT" dirty="0">
                <a:sym typeface="Wingdings" pitchFamily="2" charset="2"/>
              </a:rPr>
              <a:t>(</a:t>
            </a:r>
            <a:r>
              <a:rPr lang="it-IT" dirty="0" err="1">
                <a:sym typeface="Wingdings" pitchFamily="2" charset="2"/>
              </a:rPr>
              <a:t>z</a:t>
            </a:r>
            <a:r>
              <a:rPr lang="it-IT" dirty="0">
                <a:sym typeface="Wingdings" pitchFamily="2" charset="2"/>
              </a:rPr>
              <a:t>)</a:t>
            </a:r>
          </a:p>
          <a:p>
            <a:pPr marL="0" indent="0">
              <a:buNone/>
            </a:pPr>
            <a:endParaRPr lang="it-IT" dirty="0">
              <a:sym typeface="Wingdings" pitchFamily="2" charset="2"/>
            </a:endParaRPr>
          </a:p>
          <a:p>
            <a:pPr marL="0" indent="0">
              <a:buNone/>
            </a:pPr>
            <a:r>
              <a:rPr lang="it-IT" dirty="0">
                <a:sym typeface="Wingdings" pitchFamily="2" charset="2"/>
              </a:rPr>
              <a:t>NB K</a:t>
            </a:r>
            <a:r>
              <a:rPr lang="it-IT" baseline="-25000" dirty="0">
                <a:sym typeface="Wingdings" pitchFamily="2" charset="2"/>
              </a:rPr>
              <a:t>1</a:t>
            </a:r>
            <a:r>
              <a:rPr lang="it-IT" dirty="0">
                <a:sym typeface="Wingdings" pitchFamily="2" charset="2"/>
              </a:rPr>
              <a:t>(</a:t>
            </a:r>
            <a:r>
              <a:rPr lang="it-IT" dirty="0" err="1">
                <a:sym typeface="Wingdings" pitchFamily="2" charset="2"/>
              </a:rPr>
              <a:t>z</a:t>
            </a:r>
            <a:r>
              <a:rPr lang="it-IT" dirty="0">
                <a:sym typeface="Wingdings" pitchFamily="2" charset="2"/>
              </a:rPr>
              <a:t>) </a:t>
            </a:r>
            <a:r>
              <a:rPr lang="it-IT" dirty="0" err="1">
                <a:sym typeface="Wingdings" pitchFamily="2" charset="2"/>
              </a:rPr>
              <a:t>is</a:t>
            </a:r>
            <a:r>
              <a:rPr lang="it-IT" dirty="0">
                <a:sym typeface="Wingdings" pitchFamily="2" charset="2"/>
              </a:rPr>
              <a:t> </a:t>
            </a:r>
            <a:r>
              <a:rPr lang="it-IT" dirty="0" err="1">
                <a:sym typeface="Wingdings" pitchFamily="2" charset="2"/>
              </a:rPr>
              <a:t>implementable</a:t>
            </a:r>
            <a:r>
              <a:rPr lang="it-IT" dirty="0">
                <a:sym typeface="Wingdings" pitchFamily="2" charset="2"/>
              </a:rPr>
              <a:t> </a:t>
            </a:r>
            <a:r>
              <a:rPr lang="it-IT" dirty="0" err="1">
                <a:sym typeface="Wingdings" pitchFamily="2" charset="2"/>
              </a:rPr>
              <a:t>only</a:t>
            </a:r>
            <a:r>
              <a:rPr lang="it-IT" dirty="0">
                <a:sym typeface="Wingdings" pitchFamily="2" charset="2"/>
              </a:rPr>
              <a:t> </a:t>
            </a:r>
            <a:r>
              <a:rPr lang="it-IT" dirty="0" err="1">
                <a:sym typeface="Wingdings" pitchFamily="2" charset="2"/>
              </a:rPr>
              <a:t>if</a:t>
            </a:r>
            <a:r>
              <a:rPr lang="it-IT" dirty="0">
                <a:sym typeface="Wingdings" pitchFamily="2" charset="2"/>
              </a:rPr>
              <a:t> 1/H</a:t>
            </a:r>
            <a:r>
              <a:rPr lang="it-IT" baseline="-25000" dirty="0">
                <a:sym typeface="Wingdings" pitchFamily="2" charset="2"/>
              </a:rPr>
              <a:t>1</a:t>
            </a:r>
            <a:r>
              <a:rPr lang="it-IT" dirty="0">
                <a:sym typeface="Wingdings" pitchFamily="2" charset="2"/>
              </a:rPr>
              <a:t>(</a:t>
            </a:r>
            <a:r>
              <a:rPr lang="it-IT" dirty="0" err="1">
                <a:sym typeface="Wingdings" pitchFamily="2" charset="2"/>
              </a:rPr>
              <a:t>z</a:t>
            </a:r>
            <a:r>
              <a:rPr lang="it-IT" dirty="0">
                <a:sym typeface="Wingdings" pitchFamily="2" charset="2"/>
              </a:rPr>
              <a:t>) </a:t>
            </a:r>
            <a:r>
              <a:rPr lang="it-IT" dirty="0" err="1">
                <a:sym typeface="Wingdings" pitchFamily="2" charset="2"/>
              </a:rPr>
              <a:t>is</a:t>
            </a:r>
            <a:r>
              <a:rPr lang="it-IT" dirty="0">
                <a:sym typeface="Wingdings" pitchFamily="2" charset="2"/>
              </a:rPr>
              <a:t> </a:t>
            </a:r>
            <a:r>
              <a:rPr lang="it-IT" dirty="0" err="1">
                <a:sym typeface="Wingdings" pitchFamily="2" charset="2"/>
              </a:rPr>
              <a:t>stable</a:t>
            </a:r>
            <a:r>
              <a:rPr lang="it-IT" dirty="0">
                <a:sym typeface="Wingdings" pitchFamily="2" charset="2"/>
              </a:rPr>
              <a:t> and </a:t>
            </a:r>
            <a:r>
              <a:rPr lang="it-IT" dirty="0" err="1">
                <a:sym typeface="Wingdings" pitchFamily="2" charset="2"/>
              </a:rPr>
              <a:t>causal</a:t>
            </a:r>
            <a:r>
              <a:rPr lang="it-IT" dirty="0">
                <a:sym typeface="Wingdings" pitchFamily="2" charset="2"/>
              </a:rPr>
              <a:t> </a:t>
            </a:r>
          </a:p>
          <a:p>
            <a:pPr marL="0" indent="0">
              <a:buNone/>
            </a:pPr>
            <a:endParaRPr lang="it-IT" dirty="0">
              <a:sym typeface="Wingdings" pitchFamily="2" charset="2"/>
            </a:endParaRPr>
          </a:p>
          <a:p>
            <a:pPr marL="0" indent="0">
              <a:buNone/>
            </a:pPr>
            <a:endParaRPr lang="it-IT" dirty="0">
              <a:sym typeface="Wingdings" pitchFamily="2" charset="2"/>
            </a:endParaRPr>
          </a:p>
          <a:p>
            <a:pPr marL="0" indent="0">
              <a:buNone/>
            </a:pPr>
            <a:r>
              <a:rPr lang="it-IT" dirty="0"/>
              <a:t>Q</a:t>
            </a:r>
            <a:r>
              <a:rPr lang="it-IT" baseline="-25000" dirty="0"/>
              <a:t>2</a:t>
            </a:r>
            <a:r>
              <a:rPr lang="it-IT" dirty="0"/>
              <a:t>[x(</a:t>
            </a:r>
            <a:r>
              <a:rPr lang="it-IT" dirty="0" err="1"/>
              <a:t>n</a:t>
            </a:r>
            <a:r>
              <a:rPr lang="it-IT" dirty="0"/>
              <a:t>)] = K</a:t>
            </a:r>
            <a:r>
              <a:rPr lang="it-IT" baseline="-25000" dirty="0"/>
              <a:t>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H</a:t>
            </a:r>
            <a:r>
              <a:rPr lang="it-IT" baseline="-25000" dirty="0"/>
              <a:t>2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x(</a:t>
            </a:r>
            <a:r>
              <a:rPr lang="it-IT" dirty="0" err="1"/>
              <a:t>z</a:t>
            </a:r>
            <a:r>
              <a:rPr lang="it-IT" dirty="0"/>
              <a:t>) + K</a:t>
            </a:r>
            <a:r>
              <a:rPr lang="it-IT" baseline="-25000" dirty="0"/>
              <a:t>2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H</a:t>
            </a:r>
            <a:r>
              <a:rPr lang="it-IT" baseline="-25000" dirty="0"/>
              <a:t>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x(</a:t>
            </a:r>
            <a:r>
              <a:rPr lang="it-IT" dirty="0" err="1"/>
              <a:t>z</a:t>
            </a:r>
            <a:r>
              <a:rPr lang="it-IT" dirty="0"/>
              <a:t>) = 0        K</a:t>
            </a:r>
            <a:r>
              <a:rPr lang="it-IT" baseline="-25000" dirty="0"/>
              <a:t>2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 = H</a:t>
            </a:r>
            <a:r>
              <a:rPr lang="it-IT" baseline="-25000" dirty="0"/>
              <a:t>1</a:t>
            </a:r>
            <a:r>
              <a:rPr lang="it-IT" baseline="30000" dirty="0"/>
              <a:t>-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H</a:t>
            </a:r>
            <a:r>
              <a:rPr lang="it-IT" baseline="-25000" dirty="0"/>
              <a:t>2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*H</a:t>
            </a:r>
            <a:r>
              <a:rPr lang="it-IT" baseline="-25000" dirty="0"/>
              <a:t>1</a:t>
            </a:r>
            <a:r>
              <a:rPr lang="it-IT" baseline="30000" dirty="0"/>
              <a:t>-1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…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55EF8E07-1CDE-4F3E-E0A1-248A24420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2A92C70-A0EA-F609-2464-A01DC794C4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AAD7C87-A77A-7564-2E18-EC8B5D93CE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DCC51AE0-E9D4-06AE-E8AA-FCC51BDA295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22443" y="1105241"/>
            <a:ext cx="1701800" cy="52070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DF9ED716-F27B-E251-4F64-34568392606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22443" y="3105052"/>
            <a:ext cx="1168400" cy="317500"/>
          </a:xfrm>
          <a:prstGeom prst="rect">
            <a:avLst/>
          </a:prstGeom>
        </p:spPr>
      </p:pic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094237A8-03A5-D640-1C99-9C77E130C5D8}"/>
              </a:ext>
            </a:extLst>
          </p:cNvPr>
          <p:cNvCxnSpPr/>
          <p:nvPr/>
        </p:nvCxnSpPr>
        <p:spPr>
          <a:xfrm>
            <a:off x="5424616" y="1828800"/>
            <a:ext cx="370703" cy="0"/>
          </a:xfrm>
          <a:prstGeom prst="straightConnector1">
            <a:avLst/>
          </a:prstGeom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2A21AF39-944B-F0B8-ECB8-72F1B29A611A}"/>
              </a:ext>
            </a:extLst>
          </p:cNvPr>
          <p:cNvCxnSpPr/>
          <p:nvPr/>
        </p:nvCxnSpPr>
        <p:spPr>
          <a:xfrm>
            <a:off x="5811789" y="3637005"/>
            <a:ext cx="370703" cy="0"/>
          </a:xfrm>
          <a:prstGeom prst="straightConnector1">
            <a:avLst/>
          </a:prstGeom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559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C70646BB-1B5D-BC0E-F1C4-C0910FB1D9C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 err="1"/>
              <a:t>As</a:t>
            </a:r>
            <a:r>
              <a:rPr lang="it-IT" dirty="0"/>
              <a:t> the </a:t>
            </a:r>
            <a:r>
              <a:rPr lang="it-IT" dirty="0" err="1"/>
              <a:t>order</a:t>
            </a:r>
            <a:r>
              <a:rPr lang="it-IT" dirty="0"/>
              <a:t> of the </a:t>
            </a:r>
            <a:r>
              <a:rPr lang="it-IT" dirty="0" err="1"/>
              <a:t>polynomial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</a:t>
            </a:r>
            <a:r>
              <a:rPr lang="it-IT" dirty="0" err="1"/>
              <a:t>increases</a:t>
            </a:r>
            <a:r>
              <a:rPr lang="it-IT" dirty="0"/>
              <a:t>, the </a:t>
            </a:r>
            <a:r>
              <a:rPr lang="it-IT" dirty="0" err="1"/>
              <a:t>expression</a:t>
            </a:r>
            <a:r>
              <a:rPr lang="it-IT" dirty="0"/>
              <a:t> of </a:t>
            </a:r>
            <a:r>
              <a:rPr lang="it-IT" dirty="0" err="1"/>
              <a:t>K</a:t>
            </a:r>
            <a:r>
              <a:rPr lang="it-IT" baseline="-25000" dirty="0" err="1"/>
              <a:t>p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 </a:t>
            </a:r>
            <a:r>
              <a:rPr lang="it-IT" dirty="0" err="1"/>
              <a:t>becomes</a:t>
            </a:r>
            <a:r>
              <a:rPr lang="it-IT" dirty="0"/>
              <a:t> more </a:t>
            </a:r>
            <a:r>
              <a:rPr lang="it-IT" dirty="0" err="1"/>
              <a:t>complex</a:t>
            </a:r>
            <a:br>
              <a:rPr lang="it-IT" dirty="0"/>
            </a:br>
            <a:r>
              <a:rPr lang="it-IT" dirty="0"/>
              <a:t>For </a:t>
            </a:r>
            <a:r>
              <a:rPr lang="it-IT" dirty="0" err="1"/>
              <a:t>example</a:t>
            </a:r>
            <a:r>
              <a:rPr lang="it-IT" dirty="0"/>
              <a:t>, K</a:t>
            </a:r>
            <a:r>
              <a:rPr lang="it-IT" baseline="-25000" dirty="0"/>
              <a:t>3</a:t>
            </a:r>
            <a:r>
              <a:rPr lang="it-IT" dirty="0"/>
              <a:t>(</a:t>
            </a:r>
            <a:r>
              <a:rPr lang="it-IT" dirty="0" err="1"/>
              <a:t>z</a:t>
            </a:r>
            <a:r>
              <a:rPr lang="it-IT" dirty="0"/>
              <a:t>) </a:t>
            </a:r>
            <a:r>
              <a:rPr lang="it-IT" dirty="0" err="1"/>
              <a:t>is</a:t>
            </a:r>
            <a:r>
              <a:rPr lang="it-IT" dirty="0"/>
              <a:t>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</a:t>
            </a:r>
            <a:r>
              <a:rPr lang="it-IT" dirty="0" err="1"/>
              <a:t>increases</a:t>
            </a:r>
            <a:r>
              <a:rPr lang="it-IT" dirty="0"/>
              <a:t>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</a:t>
            </a:r>
            <a:r>
              <a:rPr lang="it-IT" dirty="0" err="1"/>
              <a:t>two</a:t>
            </a:r>
            <a:r>
              <a:rPr lang="it-IT" dirty="0"/>
              <a:t> degrees of </a:t>
            </a:r>
            <a:r>
              <a:rPr lang="it-IT" dirty="0" err="1"/>
              <a:t>complexity</a:t>
            </a:r>
            <a:r>
              <a:rPr lang="it-IT" dirty="0"/>
              <a:t>: </a:t>
            </a:r>
          </a:p>
          <a:p>
            <a:pPr marL="457200" indent="-457200">
              <a:buAutoNum type="arabicPeriod"/>
            </a:pPr>
            <a:r>
              <a:rPr lang="it-IT" dirty="0"/>
              <a:t>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h</a:t>
            </a:r>
            <a:r>
              <a:rPr lang="it-IT" baseline="-25000" dirty="0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of the Volterra Series </a:t>
            </a:r>
            <a:r>
              <a:rPr lang="it-IT" dirty="0" err="1"/>
              <a:t>increases</a:t>
            </a:r>
            <a:r>
              <a:rPr lang="it-IT" dirty="0"/>
              <a:t>,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NOT </a:t>
            </a:r>
            <a:r>
              <a:rPr lang="it-IT" dirty="0" err="1"/>
              <a:t>that</a:t>
            </a:r>
            <a:r>
              <a:rPr lang="it-IT" dirty="0"/>
              <a:t> </a:t>
            </a:r>
            <a:r>
              <a:rPr lang="it-IT" dirty="0" err="1"/>
              <a:t>simple</a:t>
            </a:r>
            <a:r>
              <a:rPr lang="it-IT" dirty="0"/>
              <a:t> to </a:t>
            </a:r>
            <a:r>
              <a:rPr lang="it-IT" dirty="0" err="1"/>
              <a:t>ensure</a:t>
            </a:r>
            <a:r>
              <a:rPr lang="it-IT" dirty="0"/>
              <a:t> the of the loops for the estimate</a:t>
            </a:r>
          </a:p>
          <a:p>
            <a:pPr marL="457200" indent="-457200">
              <a:buAutoNum type="arabicPeriod"/>
            </a:pPr>
            <a:r>
              <a:rPr lang="it-IT" dirty="0" err="1"/>
              <a:t>Deriving</a:t>
            </a:r>
            <a:r>
              <a:rPr lang="it-IT" dirty="0"/>
              <a:t> the inverse of the Volterra </a:t>
            </a:r>
            <a:r>
              <a:rPr lang="it-IT" dirty="0" err="1"/>
              <a:t>series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extremely</a:t>
            </a:r>
            <a:r>
              <a:rPr lang="it-IT" dirty="0"/>
              <a:t> </a:t>
            </a:r>
            <a:r>
              <a:rPr lang="it-IT" dirty="0" err="1"/>
              <a:t>complex</a:t>
            </a: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5A42707-4B04-4D79-940C-179E423F6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18ABB69-0700-6FAA-1987-AA6609C507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3EA6EAB-77F8-7378-98A3-3F125000C3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0F23AEFA-468B-D614-4150-5AAFD59300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3063" y="1833990"/>
            <a:ext cx="5829300" cy="283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945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25902EA3-CE9B-5214-B718-DAC472C1B1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To </a:t>
            </a:r>
            <a:r>
              <a:rPr lang="it-IT" dirty="0" err="1"/>
              <a:t>simplify</a:t>
            </a:r>
            <a:r>
              <a:rPr lang="it-IT" dirty="0"/>
              <a:t> the </a:t>
            </a:r>
            <a:r>
              <a:rPr lang="it-IT" dirty="0" err="1"/>
              <a:t>calibration</a:t>
            </a:r>
            <a:r>
              <a:rPr lang="it-IT" dirty="0"/>
              <a:t> </a:t>
            </a:r>
            <a:r>
              <a:rPr lang="it-IT" dirty="0" err="1"/>
              <a:t>problem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can exploit the </a:t>
            </a:r>
            <a:r>
              <a:rPr lang="it-IT" dirty="0" err="1"/>
              <a:t>fact</a:t>
            </a:r>
            <a:r>
              <a:rPr lang="it-IT" dirty="0"/>
              <a:t> </a:t>
            </a:r>
            <a:r>
              <a:rPr lang="it-IT" dirty="0" err="1"/>
              <a:t>that</a:t>
            </a:r>
            <a:r>
              <a:rPr lang="it-IT" dirty="0"/>
              <a:t> K </a:t>
            </a:r>
            <a:r>
              <a:rPr lang="it-IT" dirty="0" err="1"/>
              <a:t>is</a:t>
            </a:r>
            <a:r>
              <a:rPr lang="it-IT" dirty="0"/>
              <a:t> a Volterra Series with the </a:t>
            </a:r>
            <a:r>
              <a:rPr lang="it-IT" dirty="0" err="1"/>
              <a:t>same</a:t>
            </a:r>
            <a:r>
              <a:rPr lang="it-IT" dirty="0"/>
              <a:t> </a:t>
            </a:r>
            <a:r>
              <a:rPr lang="it-IT" dirty="0" err="1"/>
              <a:t>polinomial</a:t>
            </a:r>
            <a:r>
              <a:rPr lang="it-IT" dirty="0"/>
              <a:t> </a:t>
            </a:r>
            <a:r>
              <a:rPr lang="it-IT" dirty="0" err="1"/>
              <a:t>order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and the </a:t>
            </a:r>
            <a:r>
              <a:rPr lang="it-IT" dirty="0" err="1"/>
              <a:t>same</a:t>
            </a:r>
            <a:r>
              <a:rPr lang="it-IT" dirty="0"/>
              <a:t> </a:t>
            </a:r>
            <a:r>
              <a:rPr lang="it-IT" dirty="0" err="1"/>
              <a:t>memory</a:t>
            </a:r>
            <a:r>
              <a:rPr lang="it-IT" dirty="0"/>
              <a:t> of H, the Volterra Series </a:t>
            </a:r>
            <a:r>
              <a:rPr lang="it-IT" dirty="0" err="1"/>
              <a:t>miming</a:t>
            </a:r>
            <a:r>
              <a:rPr lang="it-IT" dirty="0"/>
              <a:t> the </a:t>
            </a:r>
            <a:r>
              <a:rPr lang="it-IT" dirty="0" err="1"/>
              <a:t>behavior</a:t>
            </a:r>
            <a:r>
              <a:rPr lang="it-IT" dirty="0"/>
              <a:t> of the sampler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Thu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may</a:t>
            </a:r>
            <a:r>
              <a:rPr lang="it-IT" dirty="0"/>
              <a:t> estimate </a:t>
            </a:r>
            <a:r>
              <a:rPr lang="it-IT" dirty="0" err="1"/>
              <a:t>only</a:t>
            </a:r>
            <a:r>
              <a:rPr lang="it-IT" dirty="0"/>
              <a:t> the </a:t>
            </a: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k</a:t>
            </a:r>
            <a:r>
              <a:rPr lang="it-IT" baseline="-25000" dirty="0" err="1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of the Volterra Series to </a:t>
            </a:r>
            <a:r>
              <a:rPr lang="it-IT" dirty="0" err="1"/>
              <a:t>apply</a:t>
            </a:r>
            <a:r>
              <a:rPr lang="it-IT" dirty="0"/>
              <a:t> on </a:t>
            </a:r>
            <a:r>
              <a:rPr lang="it-IT" dirty="0" err="1"/>
              <a:t>Dout</a:t>
            </a:r>
            <a:r>
              <a:rPr lang="it-IT" dirty="0"/>
              <a:t> to </a:t>
            </a:r>
            <a:r>
              <a:rPr lang="it-IT" dirty="0" err="1"/>
              <a:t>retrieve</a:t>
            </a:r>
            <a:r>
              <a:rPr lang="it-IT" dirty="0"/>
              <a:t> Vin.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u="sng" dirty="0"/>
              <a:t>Digital </a:t>
            </a:r>
            <a:r>
              <a:rPr lang="it-IT" u="sng" dirty="0" err="1"/>
              <a:t>calibration</a:t>
            </a:r>
            <a:r>
              <a:rPr lang="it-IT" u="sng" dirty="0"/>
              <a:t> </a:t>
            </a:r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</a:p>
          <a:p>
            <a:pPr marL="0" indent="0">
              <a:buNone/>
            </a:pPr>
            <a:r>
              <a:rPr lang="it-IT" dirty="0"/>
              <a:t>						</a:t>
            </a:r>
            <a:r>
              <a:rPr lang="it-IT" dirty="0" err="1"/>
              <a:t>k</a:t>
            </a:r>
            <a:r>
              <a:rPr lang="it-IT" baseline="-25000" dirty="0" err="1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</a:t>
            </a:r>
            <a:r>
              <a:rPr lang="it-IT" sz="1600" dirty="0"/>
              <a:t>[</a:t>
            </a:r>
            <a:r>
              <a:rPr lang="it-IT" sz="1600" dirty="0" err="1"/>
              <a:t>coefficients</a:t>
            </a:r>
            <a:r>
              <a:rPr lang="it-IT" sz="1600" dirty="0"/>
              <a:t> of the Volterra to </a:t>
            </a:r>
            <a:r>
              <a:rPr lang="it-IT" sz="1600" dirty="0" err="1"/>
              <a:t>apply</a:t>
            </a:r>
            <a:r>
              <a:rPr lang="it-IT" sz="1600" dirty="0"/>
              <a:t> to </a:t>
            </a:r>
            <a:r>
              <a:rPr lang="it-IT" sz="1600" dirty="0" err="1"/>
              <a:t>Dout</a:t>
            </a:r>
            <a:r>
              <a:rPr lang="it-IT" sz="1600" dirty="0"/>
              <a:t> to </a:t>
            </a:r>
            <a:r>
              <a:rPr lang="it-IT" sz="1600" dirty="0" err="1"/>
              <a:t>obtain</a:t>
            </a:r>
            <a:r>
              <a:rPr lang="it-IT" sz="1600" dirty="0"/>
              <a:t> Vin]</a:t>
            </a:r>
            <a:br>
              <a:rPr lang="it-IT" dirty="0"/>
            </a:br>
            <a:r>
              <a:rPr lang="it-IT" dirty="0" err="1"/>
              <a:t>D</a:t>
            </a:r>
            <a:r>
              <a:rPr lang="it-IT" baseline="-25000" dirty="0" err="1"/>
              <a:t>out</a:t>
            </a:r>
            <a:endParaRPr lang="it-IT" baseline="-25000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k</a:t>
            </a:r>
            <a:r>
              <a:rPr lang="it-IT" baseline="-25000" dirty="0" err="1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 		  	</a:t>
            </a:r>
            <a:br>
              <a:rPr lang="it-IT" dirty="0"/>
            </a:br>
            <a:r>
              <a:rPr lang="it-IT" sz="1400" dirty="0"/>
              <a:t>	</a:t>
            </a:r>
            <a:r>
              <a:rPr lang="it-IT" dirty="0"/>
              <a:t>					</a:t>
            </a:r>
            <a:r>
              <a:rPr lang="it-IT" dirty="0" err="1"/>
              <a:t>D</a:t>
            </a:r>
            <a:r>
              <a:rPr lang="it-IT" baseline="-25000" dirty="0" err="1"/>
              <a:t>out,cal</a:t>
            </a:r>
            <a:endParaRPr lang="it-IT" dirty="0"/>
          </a:p>
          <a:p>
            <a:pPr marL="0" indent="0">
              <a:buNone/>
            </a:pPr>
            <a:r>
              <a:rPr lang="it-IT" dirty="0" err="1"/>
              <a:t>D</a:t>
            </a:r>
            <a:r>
              <a:rPr lang="it-IT" baseline="-25000" dirty="0" err="1"/>
              <a:t>out</a:t>
            </a:r>
            <a:endParaRPr lang="it-IT" baseline="-25000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1AEF5588-0B4D-EB1B-711F-5ECC0123C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56EDF17F-82FD-1BBB-C831-5A592D0B1B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A0801B04-3D2B-513A-975E-A8E52F2CB7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6" name="Connettore 2 5">
            <a:extLst>
              <a:ext uri="{FF2B5EF4-FFF2-40B4-BE49-F238E27FC236}">
                <a16:creationId xmlns:a16="http://schemas.microsoft.com/office/drawing/2014/main" id="{499E4FB0-759B-805A-7768-24FB429A4044}"/>
              </a:ext>
            </a:extLst>
          </p:cNvPr>
          <p:cNvCxnSpPr/>
          <p:nvPr/>
        </p:nvCxnSpPr>
        <p:spPr>
          <a:xfrm>
            <a:off x="738554" y="370962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6">
            <a:extLst>
              <a:ext uri="{FF2B5EF4-FFF2-40B4-BE49-F238E27FC236}">
                <a16:creationId xmlns:a16="http://schemas.microsoft.com/office/drawing/2014/main" id="{D89BD7F3-E8C5-18D1-90DC-F10501EE3050}"/>
              </a:ext>
            </a:extLst>
          </p:cNvPr>
          <p:cNvSpPr/>
          <p:nvPr/>
        </p:nvSpPr>
        <p:spPr bwMode="auto">
          <a:xfrm>
            <a:off x="1512277" y="352865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Connettore 2 7">
            <a:extLst>
              <a:ext uri="{FF2B5EF4-FFF2-40B4-BE49-F238E27FC236}">
                <a16:creationId xmlns:a16="http://schemas.microsoft.com/office/drawing/2014/main" id="{DE67ABBF-4FA2-7DCD-4EB6-570DCDE892AC}"/>
              </a:ext>
            </a:extLst>
          </p:cNvPr>
          <p:cNvCxnSpPr/>
          <p:nvPr/>
        </p:nvCxnSpPr>
        <p:spPr>
          <a:xfrm>
            <a:off x="2965939" y="406131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2 8">
            <a:extLst>
              <a:ext uri="{FF2B5EF4-FFF2-40B4-BE49-F238E27FC236}">
                <a16:creationId xmlns:a16="http://schemas.microsoft.com/office/drawing/2014/main" id="{20428AA2-CB61-D2F6-EC00-11BF4A208820}"/>
              </a:ext>
            </a:extLst>
          </p:cNvPr>
          <p:cNvCxnSpPr/>
          <p:nvPr/>
        </p:nvCxnSpPr>
        <p:spPr>
          <a:xfrm>
            <a:off x="738554" y="436611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9">
            <a:extLst>
              <a:ext uri="{FF2B5EF4-FFF2-40B4-BE49-F238E27FC236}">
                <a16:creationId xmlns:a16="http://schemas.microsoft.com/office/drawing/2014/main" id="{38F2AFD8-7AB8-AE0F-119F-629E1C53D575}"/>
              </a:ext>
            </a:extLst>
          </p:cNvPr>
          <p:cNvCxnSpPr>
            <a:cxnSpLocks/>
          </p:cNvCxnSpPr>
          <p:nvPr/>
        </p:nvCxnSpPr>
        <p:spPr>
          <a:xfrm>
            <a:off x="906087" y="5105344"/>
            <a:ext cx="535851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tangolo 10">
            <a:extLst>
              <a:ext uri="{FF2B5EF4-FFF2-40B4-BE49-F238E27FC236}">
                <a16:creationId xmlns:a16="http://schemas.microsoft.com/office/drawing/2014/main" id="{6BD256F1-0473-AFC6-2458-E43F014D6343}"/>
              </a:ext>
            </a:extLst>
          </p:cNvPr>
          <p:cNvSpPr/>
          <p:nvPr/>
        </p:nvSpPr>
        <p:spPr bwMode="auto">
          <a:xfrm>
            <a:off x="1512277" y="492437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r>
              <a:rPr lang="it-IT" sz="1600" dirty="0"/>
              <a:t>Volterra </a:t>
            </a:r>
            <a:r>
              <a:rPr lang="it-IT" sz="1600" dirty="0" err="1"/>
              <a:t>series</a:t>
            </a: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78EC4B6A-D7E8-7634-D8F2-8FF096C541DF}"/>
              </a:ext>
            </a:extLst>
          </p:cNvPr>
          <p:cNvCxnSpPr/>
          <p:nvPr/>
        </p:nvCxnSpPr>
        <p:spPr>
          <a:xfrm>
            <a:off x="2965939" y="546939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F5071AF6-7823-695F-FB91-9C47C811CA57}"/>
              </a:ext>
            </a:extLst>
          </p:cNvPr>
          <p:cNvCxnSpPr/>
          <p:nvPr/>
        </p:nvCxnSpPr>
        <p:spPr>
          <a:xfrm>
            <a:off x="738554" y="576183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7 14">
            <a:extLst>
              <a:ext uri="{FF2B5EF4-FFF2-40B4-BE49-F238E27FC236}">
                <a16:creationId xmlns:a16="http://schemas.microsoft.com/office/drawing/2014/main" id="{E2F03BBD-9E62-3A8C-1ADD-67192E221733}"/>
              </a:ext>
            </a:extLst>
          </p:cNvPr>
          <p:cNvCxnSpPr>
            <a:cxnSpLocks/>
          </p:cNvCxnSpPr>
          <p:nvPr/>
        </p:nvCxnSpPr>
        <p:spPr>
          <a:xfrm rot="10800000">
            <a:off x="2691948" y="4122636"/>
            <a:ext cx="2449946" cy="982708"/>
          </a:xfrm>
          <a:prstGeom prst="curvedConnector3">
            <a:avLst/>
          </a:prstGeom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93E23E20-3693-68A9-4C4F-0232C90AFB04}"/>
              </a:ext>
            </a:extLst>
          </p:cNvPr>
          <p:cNvSpPr txBox="1"/>
          <p:nvPr/>
        </p:nvSpPr>
        <p:spPr bwMode="auto">
          <a:xfrm>
            <a:off x="5182838" y="4924370"/>
            <a:ext cx="6112251" cy="308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Implemented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as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k</a:t>
            </a:r>
            <a:r>
              <a:rPr lang="it-IT" sz="1800" kern="0" baseline="-2500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j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(i)[n+1] = </a:t>
            </a: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k</a:t>
            </a:r>
            <a:r>
              <a:rPr lang="it-IT" sz="1800" kern="0" baseline="-2500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j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(i)[</a:t>
            </a: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n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] + 𝝀|K[</a:t>
            </a:r>
            <a:r>
              <a:rPr lang="it-IT" sz="1800" kern="0" baseline="0" dirty="0" err="1">
                <a:solidFill>
                  <a:srgbClr val="C00000"/>
                </a:solidFill>
                <a:latin typeface="+mn-lt"/>
                <a:ea typeface="+mn-ea"/>
                <a:cs typeface="+mn-cs"/>
              </a:rPr>
              <a:t>Vsampler</a:t>
            </a:r>
            <a:r>
              <a:rPr lang="it-IT" sz="1800" kern="0" baseline="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] – Vin|^2 </a:t>
            </a:r>
          </a:p>
        </p:txBody>
      </p:sp>
    </p:spTree>
    <p:extLst>
      <p:ext uri="{BB962C8B-B14F-4D97-AF65-F5344CB8AC3E}">
        <p14:creationId xmlns:p14="http://schemas.microsoft.com/office/powerpoint/2010/main" val="3780094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A3C75D63-F664-0871-7BF7-DFD5E57BF3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br>
              <a:rPr lang="it-IT" dirty="0"/>
            </a:br>
            <a:r>
              <a:rPr lang="it-IT" dirty="0"/>
              <a:t>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of a Volterra </a:t>
            </a:r>
            <a:r>
              <a:rPr lang="it-IT" dirty="0" err="1"/>
              <a:t>series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Observing</a:t>
            </a:r>
            <a:r>
              <a:rPr lang="it-IT" dirty="0"/>
              <a:t> the </a:t>
            </a:r>
            <a:r>
              <a:rPr lang="it-IT" dirty="0" err="1"/>
              <a:t>spectrum</a:t>
            </a:r>
            <a:r>
              <a:rPr lang="it-IT" dirty="0"/>
              <a:t> of </a:t>
            </a:r>
            <a:r>
              <a:rPr lang="it-IT" dirty="0" err="1"/>
              <a:t>Vsampler</a:t>
            </a:r>
            <a:r>
              <a:rPr lang="it-IT" dirty="0"/>
              <a:t> non-</a:t>
            </a:r>
            <a:r>
              <a:rPr lang="it-IT" dirty="0" err="1"/>
              <a:t>linearities</a:t>
            </a:r>
            <a:r>
              <a:rPr lang="it-IT" dirty="0"/>
              <a:t> up to the 7th </a:t>
            </a:r>
            <a:r>
              <a:rPr lang="it-IT" dirty="0" err="1"/>
              <a:t>order</a:t>
            </a:r>
            <a:r>
              <a:rPr lang="it-IT" dirty="0"/>
              <a:t> can be </a:t>
            </a:r>
            <a:r>
              <a:rPr lang="it-IT" dirty="0" err="1"/>
              <a:t>noted</a:t>
            </a:r>
            <a:r>
              <a:rPr lang="it-IT" dirty="0"/>
              <a:t> =&gt; </a:t>
            </a:r>
            <a:r>
              <a:rPr lang="it-IT" dirty="0" err="1"/>
              <a:t>p</a:t>
            </a:r>
            <a:r>
              <a:rPr lang="it-IT" dirty="0"/>
              <a:t> = 7</a:t>
            </a:r>
          </a:p>
          <a:p>
            <a:pPr marL="0" indent="0">
              <a:buNone/>
            </a:pPr>
            <a:r>
              <a:rPr lang="it-IT" dirty="0" err="1"/>
              <a:t>Considering</a:t>
            </a:r>
            <a:r>
              <a:rPr lang="it-IT" dirty="0"/>
              <a:t> a </a:t>
            </a:r>
            <a:r>
              <a:rPr lang="it-IT" dirty="0" err="1"/>
              <a:t>memory</a:t>
            </a:r>
            <a:r>
              <a:rPr lang="it-IT" dirty="0"/>
              <a:t> of 3 </a:t>
            </a:r>
            <a:r>
              <a:rPr lang="it-IT" dirty="0" err="1"/>
              <a:t>element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m = 4 (</a:t>
            </a:r>
            <a:r>
              <a:rPr lang="it-IT" dirty="0" err="1"/>
              <a:t>current</a:t>
            </a:r>
            <a:r>
              <a:rPr lang="it-IT" dirty="0"/>
              <a:t> </a:t>
            </a:r>
            <a:r>
              <a:rPr lang="it-IT" dirty="0" err="1"/>
              <a:t>element</a:t>
            </a:r>
            <a:r>
              <a:rPr lang="it-IT" dirty="0"/>
              <a:t> + 3 </a:t>
            </a:r>
            <a:r>
              <a:rPr lang="it-IT" dirty="0" err="1"/>
              <a:t>past</a:t>
            </a:r>
            <a:r>
              <a:rPr lang="it-IT" dirty="0"/>
              <a:t> </a:t>
            </a:r>
            <a:r>
              <a:rPr lang="it-IT" dirty="0" err="1"/>
              <a:t>elements</a:t>
            </a:r>
            <a:r>
              <a:rPr lang="it-IT" dirty="0"/>
              <a:t>)</a:t>
            </a:r>
          </a:p>
          <a:p>
            <a:pPr marL="0" indent="0">
              <a:buNone/>
            </a:pPr>
            <a:r>
              <a:rPr lang="it-IT" dirty="0"/>
              <a:t>In </a:t>
            </a:r>
            <a:r>
              <a:rPr lang="it-IT" dirty="0" err="1"/>
              <a:t>these</a:t>
            </a:r>
            <a:r>
              <a:rPr lang="it-IT" dirty="0"/>
              <a:t> </a:t>
            </a:r>
            <a:r>
              <a:rPr lang="it-IT" dirty="0" err="1"/>
              <a:t>conditions</a:t>
            </a:r>
            <a:r>
              <a:rPr lang="it-IT" dirty="0"/>
              <a:t>, the overall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for the Volterra </a:t>
            </a:r>
            <a:r>
              <a:rPr lang="it-IT" dirty="0" err="1"/>
              <a:t>series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330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As</a:t>
            </a:r>
            <a:r>
              <a:rPr lang="it-IT" dirty="0"/>
              <a:t> 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increase</a:t>
            </a:r>
            <a:r>
              <a:rPr lang="it-IT" dirty="0"/>
              <a:t> with </a:t>
            </a:r>
            <a:r>
              <a:rPr lang="it-IT" dirty="0" err="1"/>
              <a:t>p</a:t>
            </a:r>
            <a:r>
              <a:rPr lang="it-IT" dirty="0"/>
              <a:t> or m,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difficult</a:t>
            </a:r>
            <a:r>
              <a:rPr lang="it-IT" dirty="0"/>
              <a:t> to </a:t>
            </a:r>
            <a:r>
              <a:rPr lang="it-IT" dirty="0" err="1"/>
              <a:t>guarantee</a:t>
            </a:r>
            <a:r>
              <a:rPr lang="it-IT" dirty="0"/>
              <a:t> the </a:t>
            </a:r>
            <a:r>
              <a:rPr lang="it-IT" dirty="0" err="1"/>
              <a:t>convergence</a:t>
            </a:r>
            <a:r>
              <a:rPr lang="it-IT" dirty="0"/>
              <a:t> of the LMS loops </a:t>
            </a:r>
            <a:r>
              <a:rPr lang="it-IT" dirty="0" err="1"/>
              <a:t>that</a:t>
            </a:r>
            <a:r>
              <a:rPr lang="it-IT" dirty="0"/>
              <a:t> estimate </a:t>
            </a:r>
            <a:r>
              <a:rPr lang="it-IT" dirty="0" err="1"/>
              <a:t>k</a:t>
            </a:r>
            <a:r>
              <a:rPr lang="it-IT" baseline="-25000" dirty="0" err="1"/>
              <a:t>i</a:t>
            </a:r>
            <a:r>
              <a:rPr lang="it-IT" dirty="0"/>
              <a:t>(</a:t>
            </a:r>
            <a:r>
              <a:rPr lang="it-IT" dirty="0" err="1"/>
              <a:t>j</a:t>
            </a:r>
            <a:r>
              <a:rPr lang="it-IT" dirty="0"/>
              <a:t>). </a:t>
            </a:r>
            <a:br>
              <a:rPr lang="it-IT" dirty="0"/>
            </a:br>
            <a:br>
              <a:rPr lang="it-IT" dirty="0"/>
            </a:br>
            <a:r>
              <a:rPr lang="it-IT" dirty="0"/>
              <a:t>To reduce 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to estimate </a:t>
            </a:r>
            <a:r>
              <a:rPr lang="it-IT" dirty="0" err="1"/>
              <a:t>while</a:t>
            </a:r>
            <a:r>
              <a:rPr lang="it-IT" dirty="0"/>
              <a:t> keeping the </a:t>
            </a:r>
            <a:r>
              <a:rPr lang="it-IT" dirty="0" err="1"/>
              <a:t>complexity</a:t>
            </a:r>
            <a:r>
              <a:rPr lang="it-IT" dirty="0"/>
              <a:t> of the model, Memory </a:t>
            </a:r>
            <a:r>
              <a:rPr lang="it-IT" dirty="0" err="1"/>
              <a:t>Polinomials</a:t>
            </a:r>
            <a:r>
              <a:rPr lang="it-IT" dirty="0"/>
              <a:t> are </a:t>
            </a:r>
            <a:r>
              <a:rPr lang="it-IT" dirty="0" err="1"/>
              <a:t>implemented</a:t>
            </a:r>
            <a:r>
              <a:rPr lang="it-IT" dirty="0"/>
              <a:t> </a:t>
            </a:r>
            <a:r>
              <a:rPr lang="it-IT" dirty="0" err="1"/>
              <a:t>instead</a:t>
            </a:r>
            <a:r>
              <a:rPr lang="it-IT" dirty="0"/>
              <a:t> of Volterra Series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30464BAE-380D-13F9-2BF1-CD10C3B91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590F71C-2262-8AFC-CFA2-CD66DB035C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09ED50A-13D0-A989-321B-D8C62D8E62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F4E54CF-0BCB-FFCF-C96B-8DFA992E5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819" y="1383785"/>
            <a:ext cx="2006600" cy="9271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D15EFD3-0EE5-CBA1-1ED5-DF17A339D0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8920" y="1457927"/>
            <a:ext cx="1892300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144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8C82DB42-8292-97C9-34F5-9715C4A69A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>
                <a:highlight>
                  <a:srgbClr val="7390A6"/>
                </a:highlight>
              </a:rPr>
              <a:t>Volterra Series	</a:t>
            </a:r>
            <a:r>
              <a:rPr lang="it-IT" dirty="0"/>
              <a:t>							</a:t>
            </a:r>
            <a:r>
              <a:rPr lang="it-IT" dirty="0">
                <a:highlight>
                  <a:srgbClr val="7390A6"/>
                </a:highlight>
              </a:rPr>
              <a:t>Memory </a:t>
            </a:r>
            <a:r>
              <a:rPr lang="it-IT" dirty="0" err="1">
                <a:highlight>
                  <a:srgbClr val="7390A6"/>
                </a:highlight>
              </a:rPr>
              <a:t>Polinomials</a:t>
            </a:r>
            <a:r>
              <a:rPr lang="it-IT" dirty="0">
                <a:highlight>
                  <a:srgbClr val="7390A6"/>
                </a:highlight>
              </a:rPr>
              <a:t>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									Memory </a:t>
            </a:r>
            <a:r>
              <a:rPr lang="it-IT" dirty="0" err="1"/>
              <a:t>polynomials</a:t>
            </a:r>
            <a:r>
              <a:rPr lang="it-IT" dirty="0"/>
              <a:t> are a special case of Volterra</a:t>
            </a:r>
          </a:p>
          <a:p>
            <a:pPr marL="0" indent="0">
              <a:buNone/>
            </a:pPr>
            <a:r>
              <a:rPr lang="it-IT" dirty="0"/>
              <a:t>										</a:t>
            </a:r>
            <a:r>
              <a:rPr lang="it-IT" dirty="0" err="1"/>
              <a:t>series</a:t>
            </a:r>
            <a:r>
              <a:rPr lang="it-IT" dirty="0"/>
              <a:t>; </a:t>
            </a:r>
            <a:r>
              <a:rPr lang="it-IT" dirty="0" err="1"/>
              <a:t>specifically</a:t>
            </a:r>
            <a:r>
              <a:rPr lang="it-IT" dirty="0"/>
              <a:t>, </a:t>
            </a:r>
            <a:r>
              <a:rPr lang="it-IT" dirty="0" err="1"/>
              <a:t>they</a:t>
            </a:r>
            <a:r>
              <a:rPr lang="it-IT" dirty="0"/>
              <a:t> are </a:t>
            </a:r>
            <a:r>
              <a:rPr lang="it-IT" dirty="0" err="1"/>
              <a:t>obtained</a:t>
            </a:r>
            <a:r>
              <a:rPr lang="it-IT" dirty="0"/>
              <a:t> by setting to 											zero the </a:t>
            </a:r>
            <a:r>
              <a:rPr lang="it-IT" dirty="0" err="1"/>
              <a:t>coefficients</a:t>
            </a:r>
            <a:r>
              <a:rPr lang="it-IT" dirty="0"/>
              <a:t> of </a:t>
            </a:r>
            <a:r>
              <a:rPr lang="it-IT" dirty="0" err="1"/>
              <a:t>all</a:t>
            </a:r>
            <a:r>
              <a:rPr lang="it-IT" dirty="0"/>
              <a:t> </a:t>
            </a:r>
            <a:r>
              <a:rPr lang="it-IT" dirty="0" err="1"/>
              <a:t>terms</a:t>
            </a:r>
            <a:r>
              <a:rPr lang="it-IT" dirty="0"/>
              <a:t> </a:t>
            </a:r>
            <a:r>
              <a:rPr lang="it-IT" dirty="0" err="1"/>
              <a:t>involving</a:t>
            </a:r>
            <a:r>
              <a:rPr lang="it-IT" dirty="0"/>
              <a:t> the 												product of input samples </a:t>
            </a:r>
            <a:r>
              <a:rPr lang="it-IT" dirty="0" err="1"/>
              <a:t>at</a:t>
            </a:r>
            <a:r>
              <a:rPr lang="it-IT" dirty="0"/>
              <a:t> </a:t>
            </a:r>
            <a:r>
              <a:rPr lang="it-IT" dirty="0" err="1"/>
              <a:t>different</a:t>
            </a:r>
            <a:r>
              <a:rPr lang="it-IT" dirty="0"/>
              <a:t> time instants.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									For a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polynomial</a:t>
            </a:r>
            <a:r>
              <a:rPr lang="it-IT" dirty="0"/>
              <a:t> of </a:t>
            </a:r>
            <a:r>
              <a:rPr lang="it-IT" dirty="0" err="1"/>
              <a:t>order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and </a:t>
            </a:r>
            <a:r>
              <a:rPr lang="it-IT" dirty="0" err="1"/>
              <a:t>memory</a:t>
            </a:r>
            <a:r>
              <a:rPr lang="it-IT" dirty="0"/>
              <a:t> 											m, 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m*p.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1A2DB449-D728-B48F-E895-0B974B174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5809031-59B4-5738-B6BB-4E61583470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7B8D972-61FE-C18B-52B6-38B0EC62BB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BF7BA781-04C5-4DC5-B261-49648B61E7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877156"/>
            <a:ext cx="1905000" cy="8763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2389BDAD-CAD6-5EEE-F9D1-0A6F21B908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800" y="2704242"/>
            <a:ext cx="5295900" cy="80010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641C6B3D-AE8D-76BF-FB12-25D5895FC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4800" y="1940656"/>
            <a:ext cx="3327400" cy="81280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824A79C1-E714-C532-AB7B-2F729156C2E2}"/>
              </a:ext>
            </a:extLst>
          </p:cNvPr>
          <p:cNvSpPr txBox="1"/>
          <p:nvPr/>
        </p:nvSpPr>
        <p:spPr bwMode="auto">
          <a:xfrm>
            <a:off x="1919807" y="1021533"/>
            <a:ext cx="8560999" cy="201209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200" kern="0" dirty="0">
                <a:latin typeface="+mn-lt"/>
              </a:rPr>
              <a:t>  In the following </a:t>
            </a:r>
            <a:r>
              <a:rPr lang="it-IT" sz="1200" kern="0" dirty="0" err="1">
                <a:latin typeface="+mn-lt"/>
              </a:rPr>
              <a:t>formulas</a:t>
            </a:r>
            <a:r>
              <a:rPr lang="it-IT" sz="1200" kern="0" dirty="0">
                <a:latin typeface="+mn-lt"/>
              </a:rPr>
              <a:t> K si the </a:t>
            </a:r>
            <a:r>
              <a:rPr lang="it-IT" sz="1200" kern="0" dirty="0" err="1">
                <a:latin typeface="+mn-lt"/>
              </a:rPr>
              <a:t>order</a:t>
            </a:r>
            <a:r>
              <a:rPr lang="it-IT" sz="1200" kern="0" dirty="0">
                <a:latin typeface="+mn-lt"/>
              </a:rPr>
              <a:t> of the </a:t>
            </a:r>
            <a:r>
              <a:rPr lang="it-IT" sz="1200" kern="0" dirty="0" err="1">
                <a:latin typeface="+mn-lt"/>
              </a:rPr>
              <a:t>polynomial</a:t>
            </a:r>
            <a:r>
              <a:rPr lang="it-IT" sz="1200" kern="0" dirty="0">
                <a:latin typeface="+mn-lt"/>
              </a:rPr>
              <a:t> (</a:t>
            </a:r>
            <a:r>
              <a:rPr lang="it-IT" sz="1200" kern="0" dirty="0" err="1">
                <a:latin typeface="+mn-lt"/>
              </a:rPr>
              <a:t>called</a:t>
            </a:r>
            <a:r>
              <a:rPr lang="it-IT" sz="1200" kern="0" dirty="0">
                <a:latin typeface="+mn-lt"/>
              </a:rPr>
              <a:t> </a:t>
            </a:r>
            <a:r>
              <a:rPr lang="it-IT" sz="1200" kern="0" dirty="0" err="1">
                <a:latin typeface="+mn-lt"/>
              </a:rPr>
              <a:t>p</a:t>
            </a:r>
            <a:r>
              <a:rPr lang="it-IT" sz="1200" kern="0" dirty="0">
                <a:latin typeface="+mn-lt"/>
              </a:rPr>
              <a:t> in </a:t>
            </a:r>
            <a:r>
              <a:rPr lang="it-IT" sz="1200" kern="0" dirty="0" err="1">
                <a:latin typeface="+mn-lt"/>
              </a:rPr>
              <a:t>these</a:t>
            </a:r>
            <a:r>
              <a:rPr lang="it-IT" sz="1200" kern="0" dirty="0">
                <a:latin typeface="+mn-lt"/>
              </a:rPr>
              <a:t> slides), M </a:t>
            </a:r>
            <a:r>
              <a:rPr lang="it-IT" sz="1200" kern="0" dirty="0" err="1">
                <a:latin typeface="+mn-lt"/>
              </a:rPr>
              <a:t>is</a:t>
            </a:r>
            <a:r>
              <a:rPr lang="it-IT" sz="1200" kern="0" dirty="0">
                <a:latin typeface="+mn-lt"/>
              </a:rPr>
              <a:t> the </a:t>
            </a:r>
            <a:r>
              <a:rPr lang="it-IT" sz="1200" kern="0" dirty="0" err="1">
                <a:latin typeface="+mn-lt"/>
              </a:rPr>
              <a:t>memory</a:t>
            </a:r>
            <a:r>
              <a:rPr lang="it-IT" sz="1200" kern="0" dirty="0">
                <a:latin typeface="+mn-lt"/>
              </a:rPr>
              <a:t> (</a:t>
            </a:r>
            <a:r>
              <a:rPr lang="it-IT" sz="1200" kern="0" dirty="0" err="1">
                <a:latin typeface="+mn-lt"/>
              </a:rPr>
              <a:t>called</a:t>
            </a:r>
            <a:r>
              <a:rPr lang="it-IT" sz="1200" kern="0" dirty="0">
                <a:latin typeface="+mn-lt"/>
              </a:rPr>
              <a:t> m in </a:t>
            </a:r>
            <a:r>
              <a:rPr lang="it-IT" sz="1200" kern="0" dirty="0" err="1">
                <a:latin typeface="+mn-lt"/>
              </a:rPr>
              <a:t>these</a:t>
            </a:r>
            <a:r>
              <a:rPr lang="it-IT" sz="1200" kern="0" dirty="0">
                <a:latin typeface="+mn-lt"/>
              </a:rPr>
              <a:t> slides)</a:t>
            </a:r>
            <a:endParaRPr lang="it-IT" sz="12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6056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Template" id="{242A4294-1F16-9144-87BB-EBFFE84F499D}" vid="{5BDF9C78-D0A6-144F-AE53-2E2C86208B5E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schemas.microsoft.com/office/infopath/2007/PartnerControls"/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ef45842-284e-44e4-b2db-1749e7948b44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9</TotalTime>
  <Words>2030</Words>
  <Application>Microsoft Macintosh PowerPoint</Application>
  <PresentationFormat>Widescreen</PresentationFormat>
  <Paragraphs>317</Paragraphs>
  <Slides>27</Slides>
  <Notes>3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27</vt:i4>
      </vt:variant>
    </vt:vector>
  </HeadingPairs>
  <TitlesOfParts>
    <vt:vector size="31" baseType="lpstr">
      <vt:lpstr>Arial</vt:lpstr>
      <vt:lpstr>Cambria Math</vt:lpstr>
      <vt:lpstr>Wingdings</vt:lpstr>
      <vt:lpstr>Infineon 16:9</vt:lpstr>
      <vt:lpstr>Sampler non-linearity calibration</vt:lpstr>
      <vt:lpstr>Project status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Alessia Ceroni</cp:lastModifiedBy>
  <cp:revision>5</cp:revision>
  <dcterms:created xsi:type="dcterms:W3CDTF">2023-11-30T10:20:59Z</dcterms:created>
  <dcterms:modified xsi:type="dcterms:W3CDTF">2025-05-08T08:2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